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65" r:id="rId7"/>
    <p:sldId id="751" r:id="rId8"/>
    <p:sldId id="739" r:id="rId9"/>
    <p:sldId id="742" r:id="rId10"/>
    <p:sldId id="740" r:id="rId11"/>
    <p:sldId id="741" r:id="rId12"/>
    <p:sldId id="743" r:id="rId13"/>
    <p:sldId id="773" r:id="rId14"/>
    <p:sldId id="746" r:id="rId15"/>
    <p:sldId id="767" r:id="rId16"/>
    <p:sldId id="764" r:id="rId17"/>
    <p:sldId id="758" r:id="rId18"/>
  </p:sldIdLst>
  <p:sldSz cx="12192000" cy="6858000"/>
  <p:notesSz cx="6797675" cy="9926638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72C"/>
    <a:srgbClr val="FF9515"/>
    <a:srgbClr val="FBFBFB"/>
    <a:srgbClr val="008E22"/>
    <a:srgbClr val="797600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07" autoAdjust="0"/>
    <p:restoredTop sz="89771" autoAdjust="0"/>
  </p:normalViewPr>
  <p:slideViewPr>
    <p:cSldViewPr snapToGrid="0" showGuides="1">
      <p:cViewPr varScale="1">
        <p:scale>
          <a:sx n="96" d="100"/>
          <a:sy n="96" d="100"/>
        </p:scale>
        <p:origin x="180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68768768768769"/>
          <c:y val="0.12117263843648209"/>
          <c:w val="0.44624624624624626"/>
          <c:h val="0.79478827361563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BD2-4375-BAAE-13DDC7DB4656}"/>
              </c:ext>
            </c:extLst>
          </c:dPt>
          <c:dLbls>
            <c:dLbl>
              <c:idx val="0"/>
              <c:layout>
                <c:manualLayout>
                  <c:x val="0"/>
                  <c:y val="-0.4228013029315960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DBD2-4375-BAAE-13DDC7DB4656}"/>
                </c:ext>
              </c:extLst>
            </c:dLbl>
            <c:dLbl>
              <c:idx val="1"/>
              <c:layout>
                <c:manualLayout>
                  <c:x val="0"/>
                  <c:y val="-0.4345276872964169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DBD2-4375-BAAE-13DDC7DB465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018.6</c:v>
                </c:pt>
                <c:pt idx="1">
                  <c:v>2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D2-4375-BAAE-13DDC7DB4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3815032"/>
        <c:axId val="1"/>
      </c:barChart>
      <c:catAx>
        <c:axId val="573815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7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3815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410764872521244"/>
          <c:y val="7.1389042612064191E-2"/>
          <c:w val="0.29121813031161475"/>
          <c:h val="0.857221914775871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86-40CF-9FB0-A1A9D8136969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106806862202545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1086-40CF-9FB0-A1A9D81369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350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086-40CF-9FB0-A1A9D81369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011808"/>
        <c:axId val="1"/>
      </c:barChart>
      <c:catAx>
        <c:axId val="575011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37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5011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9463806970509385"/>
          <c:y val="0.18883248730964466"/>
          <c:w val="0.21018766756032173"/>
          <c:h val="0.680203045685279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979695431472081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875F-4717-8FC2-C809B949E7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931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5F-4717-8FC2-C809B949E7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3562760"/>
        <c:axId val="1"/>
      </c:barChart>
      <c:catAx>
        <c:axId val="543562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31.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35627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3047210300429186"/>
          <c:y val="0.17613636363636365"/>
          <c:w val="0.33819742489270388"/>
          <c:h val="0.701704545454545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43560606060606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B53-4247-9415-6479287D62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53-4247-9415-6479287D62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010496"/>
        <c:axId val="1"/>
      </c:barChart>
      <c:catAx>
        <c:axId val="575010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5010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006006006006006"/>
          <c:y val="0.19766206163655686"/>
          <c:w val="0.1987987987987988"/>
          <c:h val="0.665249734325185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31987247608926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F78-42AD-9F8F-70F25AF3A9C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76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78-42AD-9F8F-70F25AF3A9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8577792"/>
        <c:axId val="1"/>
      </c:barChart>
      <c:catAx>
        <c:axId val="4485777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61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485777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399781540142E-2"/>
          <c:y val="9.8049551924090664E-2"/>
          <c:w val="0.943200436919716"/>
          <c:h val="0.8339483394833948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1.5292190060076462E-2"/>
                  <c:y val="-0.447021613073273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F1E-492B-BD7C-5E9E435574A7}"/>
                </c:ext>
              </c:extLst>
            </c:dLbl>
            <c:dLbl>
              <c:idx val="1"/>
              <c:layout>
                <c:manualLayout>
                  <c:x val="-1.5292190060076462E-2"/>
                  <c:y val="-0.275171323141802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4F1E-492B-BD7C-5E9E435574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95280</c:v>
                </c:pt>
                <c:pt idx="1">
                  <c:v>3503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1E-492B-BD7C-5E9E435574A7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1.8022938285090113E-2"/>
                  <c:y val="-0.44649446494464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4F1E-492B-BD7C-5E9E435574A7}"/>
                </c:ext>
              </c:extLst>
            </c:dLbl>
            <c:dLbl>
              <c:idx val="1"/>
              <c:layout>
                <c:manualLayout>
                  <c:x val="1.7476788640087382E-2"/>
                  <c:y val="-0.275171323141802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4F1E-492B-BD7C-5E9E435574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94616</c:v>
                </c:pt>
                <c:pt idx="1">
                  <c:v>350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F1E-492B-BD7C-5E9E435574A7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1.15972588297311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4F1E-492B-BD7C-5E9E435574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664</c:v>
                </c:pt>
                <c:pt idx="1">
                  <c:v>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F1E-492B-BD7C-5E9E435574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31281184"/>
        <c:axId val="1"/>
      </c:barChart>
      <c:catAx>
        <c:axId val="231281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52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31281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1.07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1.07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9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7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74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6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71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4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85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9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53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57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1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24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8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900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6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8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0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58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4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5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4811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3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6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0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3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5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79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71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2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91916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3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500" y="1"/>
            <a:ext cx="9605964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7919" y="64724"/>
            <a:ext cx="1886630" cy="577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6.png"/><Relationship Id="rId2" Type="http://schemas.openxmlformats.org/officeDocument/2006/relationships/tags" Target="../tags/tag7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image" Target="../media/image14.png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34" Type="http://schemas.openxmlformats.org/officeDocument/2006/relationships/image" Target="../media/image1.emf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oleObject" Target="../embeddings/oleObject27.bin"/><Relationship Id="rId38" Type="http://schemas.openxmlformats.org/officeDocument/2006/relationships/chart" Target="../charts/chart4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41" Type="http://schemas.openxmlformats.org/officeDocument/2006/relationships/chart" Target="../charts/chart6.xml"/><Relationship Id="rId1" Type="http://schemas.openxmlformats.org/officeDocument/2006/relationships/vmlDrawing" Target="../drawings/vmlDrawing27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slideLayout" Target="../slideLayouts/slideLayout9.xml"/><Relationship Id="rId37" Type="http://schemas.openxmlformats.org/officeDocument/2006/relationships/chart" Target="../charts/chart3.xml"/><Relationship Id="rId40" Type="http://schemas.openxmlformats.org/officeDocument/2006/relationships/chart" Target="../charts/chart5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chart" Target="../charts/chart2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1.emf"/><Relationship Id="rId2" Type="http://schemas.openxmlformats.org/officeDocument/2006/relationships/tags" Target="../tags/tag7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5243514"/>
            <a:ext cx="5301390" cy="908050"/>
          </a:xfrm>
        </p:spPr>
        <p:txBody>
          <a:bodyPr/>
          <a:lstStyle/>
          <a:p>
            <a:r>
              <a:rPr lang="ru" sz="1600" dirty="0" smtClean="0">
                <a:latin typeface="Arial" pitchFamily="34" charset="0"/>
                <a:cs typeface="Arial" pitchFamily="34" charset="0"/>
              </a:rPr>
              <a:t>«</a:t>
            </a:r>
            <a:r>
              <a:rPr lang="ru" sz="1600" dirty="0">
                <a:latin typeface="Arial" pitchFamily="34" charset="0"/>
                <a:cs typeface="Arial" pitchFamily="34" charset="0"/>
              </a:rPr>
              <a:t>3-Энергоорталык», </a:t>
            </a:r>
            <a:r>
              <a:rPr lang="ru" sz="1600" dirty="0" smtClean="0"/>
              <a:t>22 июля,</a:t>
            </a:r>
            <a:r>
              <a:rPr lang="ru-RU" sz="1600" dirty="0" smtClean="0"/>
              <a:t> </a:t>
            </a:r>
            <a:r>
              <a:rPr lang="ru" sz="1600" dirty="0" smtClean="0"/>
              <a:t>2025 </a:t>
            </a:r>
            <a:r>
              <a:rPr lang="en-US" sz="1600" dirty="0"/>
              <a:t>Kazakhstan</a:t>
            </a:r>
          </a:p>
          <a:p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2805111"/>
          </a:xfrm>
        </p:spPr>
        <p:txBody>
          <a:bodyPr/>
          <a:lstStyle/>
          <a:p>
            <a:pPr lvl="0" defTabSz="914400"/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ТЧЕТ ПО ИТОГАМ ПОЛУГОДИЯ 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25 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 ОБ ИСПОЛНЕНИИ УТВЕРЖДЕННЫХ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</a:t>
            </a:r>
            <a:r>
              <a:rPr lang="en-US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600" dirty="0">
              <a:solidFill>
                <a:schemeClr val="tx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О «3-ЭНЕРГООРТАЛЫК» 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ЕД ПОТРЕБИТЕЛЯМИ И ИНЫМИ ЗАИНТЕРЕСОВАННЫМИ ЛИЦАМИ</a:t>
            </a:r>
            <a:endParaRPr lang="en-US" sz="1600" dirty="0">
              <a:solidFill>
                <a:schemeClr val="tx1">
                  <a:lumMod val="75000"/>
                </a:schemeClr>
              </a:solidFill>
            </a:endParaRPr>
          </a:p>
          <a:p>
            <a:pPr lvl="0" defTabSz="914400"/>
            <a:endParaRPr lang="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308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ГОСТы и СанПиНы: регламентируют параметры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теплоносителя, температурные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режимы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Подготовк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и сертификация специалистов, работающих на объектах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для ИТР,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283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5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79899"/>
            <a:ext cx="9605964" cy="704850"/>
          </a:xfrm>
        </p:spPr>
        <p:txBody>
          <a:bodyPr vert="horz"/>
          <a:lstStyle/>
          <a:p>
            <a:pPr>
              <a:tabLst>
                <a:tab pos="444500" algn="l"/>
              </a:tabLst>
            </a:pPr>
            <a:r>
              <a:rPr lang="ru" dirty="0"/>
              <a:t>Информация о перспективах деятельности (планы развития</a:t>
            </a:r>
            <a:r>
              <a:rPr lang="ru" dirty="0" smtClean="0"/>
              <a:t>), в </a:t>
            </a:r>
            <a:r>
              <a:rPr lang="ru" dirty="0"/>
              <a:t>том числе возможных изменениях </a:t>
            </a:r>
            <a:r>
              <a:rPr lang="ru" dirty="0" smtClean="0"/>
              <a:t>тарифов</a:t>
            </a:r>
            <a:endParaRPr lang="en-US" dirty="0"/>
          </a:p>
        </p:txBody>
      </p:sp>
      <p:sp>
        <p:nvSpPr>
          <p:cNvPr id="9" name="Rectangle 119"/>
          <p:cNvSpPr/>
          <p:nvPr/>
        </p:nvSpPr>
        <p:spPr>
          <a:xfrm>
            <a:off x="4042374" y="1318085"/>
            <a:ext cx="2099941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 120"/>
          <p:cNvSpPr/>
          <p:nvPr/>
        </p:nvSpPr>
        <p:spPr>
          <a:xfrm>
            <a:off x="6488968" y="1318085"/>
            <a:ext cx="1747825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 Placeholder 9"/>
          <p:cNvSpPr txBox="1">
            <a:spLocks/>
          </p:cNvSpPr>
          <p:nvPr/>
        </p:nvSpPr>
        <p:spPr>
          <a:xfrm>
            <a:off x="3036222" y="1006777"/>
            <a:ext cx="8949806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sz="1600" dirty="0" smtClean="0"/>
              <a:t>ПЕРСПЕКТИВЫ РАЗВИТИЯ</a:t>
            </a:r>
            <a:endParaRPr lang="ru-RU" sz="1600" dirty="0"/>
          </a:p>
        </p:txBody>
      </p:sp>
      <p:cxnSp>
        <p:nvCxnSpPr>
          <p:cNvPr id="14" name="Straight Connector 110"/>
          <p:cNvCxnSpPr/>
          <p:nvPr/>
        </p:nvCxnSpPr>
        <p:spPr>
          <a:xfrm>
            <a:off x="3036222" y="1318086"/>
            <a:ext cx="835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Rectangle 117"/>
          <p:cNvSpPr/>
          <p:nvPr/>
        </p:nvSpPr>
        <p:spPr>
          <a:xfrm>
            <a:off x="3852596" y="2025692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5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8" name="Rectangle 122"/>
          <p:cNvSpPr/>
          <p:nvPr/>
        </p:nvSpPr>
        <p:spPr>
          <a:xfrm>
            <a:off x="6513560" y="2025692"/>
            <a:ext cx="159229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6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Rectangle 114"/>
          <p:cNvSpPr/>
          <p:nvPr/>
        </p:nvSpPr>
        <p:spPr>
          <a:xfrm>
            <a:off x="373101" y="2327930"/>
            <a:ext cx="3456775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Утвержден уполномоченным органом 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0" name="Rectangle 36"/>
          <p:cNvSpPr/>
          <p:nvPr/>
        </p:nvSpPr>
        <p:spPr>
          <a:xfrm>
            <a:off x="4467369" y="2749205"/>
            <a:ext cx="112483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23" name="Rectangle 41"/>
          <p:cNvSpPr/>
          <p:nvPr/>
        </p:nvSpPr>
        <p:spPr>
          <a:xfrm>
            <a:off x="4176422" y="2387966"/>
            <a:ext cx="1273353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5 761,4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25" name="Rectangle 53"/>
          <p:cNvSpPr/>
          <p:nvPr/>
        </p:nvSpPr>
        <p:spPr>
          <a:xfrm>
            <a:off x="985205" y="1843602"/>
            <a:ext cx="2534432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6" name="Rectangle 115"/>
          <p:cNvSpPr/>
          <p:nvPr/>
        </p:nvSpPr>
        <p:spPr>
          <a:xfrm>
            <a:off x="246160" y="4111014"/>
            <a:ext cx="2750740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Проведение капитальных ремонтов основных средст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7" name="Rectangle 38"/>
          <p:cNvSpPr/>
          <p:nvPr/>
        </p:nvSpPr>
        <p:spPr>
          <a:xfrm>
            <a:off x="7607363" y="4180378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29" name="Rectangle 45"/>
          <p:cNvSpPr/>
          <p:nvPr/>
        </p:nvSpPr>
        <p:spPr>
          <a:xfrm>
            <a:off x="4102756" y="4213636"/>
            <a:ext cx="973591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189,4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3" name="Rectangle 49"/>
          <p:cNvSpPr/>
          <p:nvPr/>
        </p:nvSpPr>
        <p:spPr>
          <a:xfrm>
            <a:off x="5122596" y="4192092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35" name="Rectangle 57"/>
          <p:cNvSpPr/>
          <p:nvPr/>
        </p:nvSpPr>
        <p:spPr>
          <a:xfrm>
            <a:off x="840409" y="3741663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Инвестиционная программа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37" name="Straight Connector 12"/>
          <p:cNvCxnSpPr/>
          <p:nvPr/>
        </p:nvCxnSpPr>
        <p:spPr>
          <a:xfrm>
            <a:off x="428996" y="3641118"/>
            <a:ext cx="10944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8" name="Group 65"/>
          <p:cNvGrpSpPr/>
          <p:nvPr/>
        </p:nvGrpSpPr>
        <p:grpSpPr>
          <a:xfrm>
            <a:off x="4623728" y="1390749"/>
            <a:ext cx="506136" cy="506136"/>
            <a:chOff x="6518889" y="4714876"/>
            <a:chExt cx="369887" cy="369888"/>
          </a:xfr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39" name="Freeform 2499"/>
            <p:cNvSpPr>
              <a:spLocks noEditPoints="1"/>
            </p:cNvSpPr>
            <p:nvPr/>
          </p:nvSpPr>
          <p:spPr bwMode="auto">
            <a:xfrm>
              <a:off x="6518889" y="4860926"/>
              <a:ext cx="369887" cy="153988"/>
            </a:xfrm>
            <a:custGeom>
              <a:avLst/>
              <a:gdLst>
                <a:gd name="T0" fmla="*/ 24 w 284"/>
                <a:gd name="T1" fmla="*/ 119 h 119"/>
                <a:gd name="T2" fmla="*/ 48 w 284"/>
                <a:gd name="T3" fmla="*/ 95 h 119"/>
                <a:gd name="T4" fmla="*/ 45 w 284"/>
                <a:gd name="T5" fmla="*/ 83 h 119"/>
                <a:gd name="T6" fmla="*/ 85 w 284"/>
                <a:gd name="T7" fmla="*/ 49 h 119"/>
                <a:gd name="T8" fmla="*/ 103 w 284"/>
                <a:gd name="T9" fmla="*/ 57 h 119"/>
                <a:gd name="T10" fmla="*/ 116 w 284"/>
                <a:gd name="T11" fmla="*/ 53 h 119"/>
                <a:gd name="T12" fmla="*/ 158 w 284"/>
                <a:gd name="T13" fmla="*/ 88 h 119"/>
                <a:gd name="T14" fmla="*/ 157 w 284"/>
                <a:gd name="T15" fmla="*/ 95 h 119"/>
                <a:gd name="T16" fmla="*/ 181 w 284"/>
                <a:gd name="T17" fmla="*/ 119 h 119"/>
                <a:gd name="T18" fmla="*/ 205 w 284"/>
                <a:gd name="T19" fmla="*/ 95 h 119"/>
                <a:gd name="T20" fmla="*/ 201 w 284"/>
                <a:gd name="T21" fmla="*/ 81 h 119"/>
                <a:gd name="T22" fmla="*/ 243 w 284"/>
                <a:gd name="T23" fmla="*/ 41 h 119"/>
                <a:gd name="T24" fmla="*/ 260 w 284"/>
                <a:gd name="T25" fmla="*/ 48 h 119"/>
                <a:gd name="T26" fmla="*/ 284 w 284"/>
                <a:gd name="T27" fmla="*/ 24 h 119"/>
                <a:gd name="T28" fmla="*/ 260 w 284"/>
                <a:gd name="T29" fmla="*/ 0 h 119"/>
                <a:gd name="T30" fmla="*/ 236 w 284"/>
                <a:gd name="T31" fmla="*/ 24 h 119"/>
                <a:gd name="T32" fmla="*/ 237 w 284"/>
                <a:gd name="T33" fmla="*/ 33 h 119"/>
                <a:gd name="T34" fmla="*/ 194 w 284"/>
                <a:gd name="T35" fmla="*/ 75 h 119"/>
                <a:gd name="T36" fmla="*/ 181 w 284"/>
                <a:gd name="T37" fmla="*/ 71 h 119"/>
                <a:gd name="T38" fmla="*/ 162 w 284"/>
                <a:gd name="T39" fmla="*/ 80 h 119"/>
                <a:gd name="T40" fmla="*/ 122 w 284"/>
                <a:gd name="T41" fmla="*/ 46 h 119"/>
                <a:gd name="T42" fmla="*/ 127 w 284"/>
                <a:gd name="T43" fmla="*/ 33 h 119"/>
                <a:gd name="T44" fmla="*/ 103 w 284"/>
                <a:gd name="T45" fmla="*/ 9 h 119"/>
                <a:gd name="T46" fmla="*/ 79 w 284"/>
                <a:gd name="T47" fmla="*/ 33 h 119"/>
                <a:gd name="T48" fmla="*/ 80 w 284"/>
                <a:gd name="T49" fmla="*/ 42 h 119"/>
                <a:gd name="T50" fmla="*/ 39 w 284"/>
                <a:gd name="T51" fmla="*/ 76 h 119"/>
                <a:gd name="T52" fmla="*/ 24 w 284"/>
                <a:gd name="T53" fmla="*/ 71 h 119"/>
                <a:gd name="T54" fmla="*/ 0 w 284"/>
                <a:gd name="T55" fmla="*/ 95 h 119"/>
                <a:gd name="T56" fmla="*/ 24 w 284"/>
                <a:gd name="T57" fmla="*/ 119 h 119"/>
                <a:gd name="T58" fmla="*/ 260 w 284"/>
                <a:gd name="T59" fmla="*/ 9 h 119"/>
                <a:gd name="T60" fmla="*/ 275 w 284"/>
                <a:gd name="T61" fmla="*/ 24 h 119"/>
                <a:gd name="T62" fmla="*/ 260 w 284"/>
                <a:gd name="T63" fmla="*/ 39 h 119"/>
                <a:gd name="T64" fmla="*/ 244 w 284"/>
                <a:gd name="T65" fmla="*/ 24 h 119"/>
                <a:gd name="T66" fmla="*/ 260 w 284"/>
                <a:gd name="T67" fmla="*/ 9 h 119"/>
                <a:gd name="T68" fmla="*/ 181 w 284"/>
                <a:gd name="T69" fmla="*/ 80 h 119"/>
                <a:gd name="T70" fmla="*/ 196 w 284"/>
                <a:gd name="T71" fmla="*/ 95 h 119"/>
                <a:gd name="T72" fmla="*/ 181 w 284"/>
                <a:gd name="T73" fmla="*/ 110 h 119"/>
                <a:gd name="T74" fmla="*/ 166 w 284"/>
                <a:gd name="T75" fmla="*/ 95 h 119"/>
                <a:gd name="T76" fmla="*/ 181 w 284"/>
                <a:gd name="T77" fmla="*/ 80 h 119"/>
                <a:gd name="T78" fmla="*/ 103 w 284"/>
                <a:gd name="T79" fmla="*/ 18 h 119"/>
                <a:gd name="T80" fmla="*/ 118 w 284"/>
                <a:gd name="T81" fmla="*/ 33 h 119"/>
                <a:gd name="T82" fmla="*/ 103 w 284"/>
                <a:gd name="T83" fmla="*/ 48 h 119"/>
                <a:gd name="T84" fmla="*/ 88 w 284"/>
                <a:gd name="T85" fmla="*/ 33 h 119"/>
                <a:gd name="T86" fmla="*/ 103 w 284"/>
                <a:gd name="T87" fmla="*/ 18 h 119"/>
                <a:gd name="T88" fmla="*/ 24 w 284"/>
                <a:gd name="T89" fmla="*/ 80 h 119"/>
                <a:gd name="T90" fmla="*/ 39 w 284"/>
                <a:gd name="T91" fmla="*/ 95 h 119"/>
                <a:gd name="T92" fmla="*/ 24 w 284"/>
                <a:gd name="T93" fmla="*/ 110 h 119"/>
                <a:gd name="T94" fmla="*/ 9 w 284"/>
                <a:gd name="T95" fmla="*/ 95 h 119"/>
                <a:gd name="T96" fmla="*/ 24 w 284"/>
                <a:gd name="T97" fmla="*/ 8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4" h="119">
                  <a:moveTo>
                    <a:pt x="24" y="119"/>
                  </a:moveTo>
                  <a:cubicBezTo>
                    <a:pt x="37" y="119"/>
                    <a:pt x="48" y="109"/>
                    <a:pt x="48" y="95"/>
                  </a:cubicBezTo>
                  <a:cubicBezTo>
                    <a:pt x="48" y="91"/>
                    <a:pt x="47" y="86"/>
                    <a:pt x="45" y="83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90" y="54"/>
                    <a:pt x="96" y="57"/>
                    <a:pt x="103" y="57"/>
                  </a:cubicBezTo>
                  <a:cubicBezTo>
                    <a:pt x="108" y="57"/>
                    <a:pt x="112" y="55"/>
                    <a:pt x="116" y="53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157" y="90"/>
                    <a:pt x="157" y="93"/>
                    <a:pt x="157" y="95"/>
                  </a:cubicBezTo>
                  <a:cubicBezTo>
                    <a:pt x="157" y="109"/>
                    <a:pt x="168" y="119"/>
                    <a:pt x="181" y="119"/>
                  </a:cubicBezTo>
                  <a:cubicBezTo>
                    <a:pt x="194" y="119"/>
                    <a:pt x="205" y="109"/>
                    <a:pt x="205" y="95"/>
                  </a:cubicBezTo>
                  <a:cubicBezTo>
                    <a:pt x="205" y="90"/>
                    <a:pt x="203" y="85"/>
                    <a:pt x="201" y="8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7" y="45"/>
                    <a:pt x="253" y="48"/>
                    <a:pt x="260" y="48"/>
                  </a:cubicBezTo>
                  <a:cubicBezTo>
                    <a:pt x="273" y="48"/>
                    <a:pt x="284" y="37"/>
                    <a:pt x="284" y="24"/>
                  </a:cubicBezTo>
                  <a:cubicBezTo>
                    <a:pt x="284" y="11"/>
                    <a:pt x="273" y="0"/>
                    <a:pt x="260" y="0"/>
                  </a:cubicBezTo>
                  <a:cubicBezTo>
                    <a:pt x="246" y="0"/>
                    <a:pt x="236" y="11"/>
                    <a:pt x="236" y="24"/>
                  </a:cubicBezTo>
                  <a:cubicBezTo>
                    <a:pt x="236" y="27"/>
                    <a:pt x="236" y="30"/>
                    <a:pt x="237" y="33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0" y="72"/>
                    <a:pt x="186" y="71"/>
                    <a:pt x="181" y="71"/>
                  </a:cubicBezTo>
                  <a:cubicBezTo>
                    <a:pt x="174" y="71"/>
                    <a:pt x="167" y="75"/>
                    <a:pt x="162" y="80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5" y="42"/>
                    <a:pt x="127" y="38"/>
                    <a:pt x="127" y="33"/>
                  </a:cubicBezTo>
                  <a:cubicBezTo>
                    <a:pt x="127" y="19"/>
                    <a:pt x="116" y="9"/>
                    <a:pt x="103" y="9"/>
                  </a:cubicBezTo>
                  <a:cubicBezTo>
                    <a:pt x="89" y="9"/>
                    <a:pt x="79" y="19"/>
                    <a:pt x="79" y="33"/>
                  </a:cubicBezTo>
                  <a:cubicBezTo>
                    <a:pt x="79" y="36"/>
                    <a:pt x="79" y="39"/>
                    <a:pt x="80" y="42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5" y="73"/>
                    <a:pt x="30" y="71"/>
                    <a:pt x="24" y="71"/>
                  </a:cubicBezTo>
                  <a:cubicBezTo>
                    <a:pt x="11" y="71"/>
                    <a:pt x="0" y="82"/>
                    <a:pt x="0" y="95"/>
                  </a:cubicBezTo>
                  <a:cubicBezTo>
                    <a:pt x="0" y="109"/>
                    <a:pt x="11" y="119"/>
                    <a:pt x="24" y="119"/>
                  </a:cubicBezTo>
                  <a:close/>
                  <a:moveTo>
                    <a:pt x="260" y="9"/>
                  </a:moveTo>
                  <a:cubicBezTo>
                    <a:pt x="268" y="9"/>
                    <a:pt x="275" y="16"/>
                    <a:pt x="275" y="24"/>
                  </a:cubicBezTo>
                  <a:cubicBezTo>
                    <a:pt x="275" y="32"/>
                    <a:pt x="268" y="39"/>
                    <a:pt x="260" y="39"/>
                  </a:cubicBezTo>
                  <a:cubicBezTo>
                    <a:pt x="251" y="39"/>
                    <a:pt x="244" y="32"/>
                    <a:pt x="244" y="24"/>
                  </a:cubicBezTo>
                  <a:cubicBezTo>
                    <a:pt x="244" y="16"/>
                    <a:pt x="251" y="9"/>
                    <a:pt x="260" y="9"/>
                  </a:cubicBezTo>
                  <a:close/>
                  <a:moveTo>
                    <a:pt x="181" y="80"/>
                  </a:moveTo>
                  <a:cubicBezTo>
                    <a:pt x="189" y="80"/>
                    <a:pt x="196" y="87"/>
                    <a:pt x="196" y="95"/>
                  </a:cubicBezTo>
                  <a:cubicBezTo>
                    <a:pt x="196" y="104"/>
                    <a:pt x="189" y="110"/>
                    <a:pt x="181" y="110"/>
                  </a:cubicBezTo>
                  <a:cubicBezTo>
                    <a:pt x="173" y="110"/>
                    <a:pt x="166" y="104"/>
                    <a:pt x="166" y="95"/>
                  </a:cubicBezTo>
                  <a:cubicBezTo>
                    <a:pt x="166" y="87"/>
                    <a:pt x="173" y="80"/>
                    <a:pt x="181" y="80"/>
                  </a:cubicBezTo>
                  <a:close/>
                  <a:moveTo>
                    <a:pt x="103" y="18"/>
                  </a:moveTo>
                  <a:cubicBezTo>
                    <a:pt x="111" y="18"/>
                    <a:pt x="118" y="24"/>
                    <a:pt x="118" y="33"/>
                  </a:cubicBezTo>
                  <a:cubicBezTo>
                    <a:pt x="118" y="41"/>
                    <a:pt x="111" y="48"/>
                    <a:pt x="103" y="48"/>
                  </a:cubicBezTo>
                  <a:cubicBezTo>
                    <a:pt x="94" y="48"/>
                    <a:pt x="88" y="41"/>
                    <a:pt x="88" y="33"/>
                  </a:cubicBezTo>
                  <a:cubicBezTo>
                    <a:pt x="88" y="24"/>
                    <a:pt x="94" y="18"/>
                    <a:pt x="103" y="18"/>
                  </a:cubicBezTo>
                  <a:close/>
                  <a:moveTo>
                    <a:pt x="24" y="80"/>
                  </a:moveTo>
                  <a:cubicBezTo>
                    <a:pt x="32" y="80"/>
                    <a:pt x="39" y="87"/>
                    <a:pt x="39" y="95"/>
                  </a:cubicBezTo>
                  <a:cubicBezTo>
                    <a:pt x="39" y="104"/>
                    <a:pt x="32" y="110"/>
                    <a:pt x="24" y="110"/>
                  </a:cubicBezTo>
                  <a:cubicBezTo>
                    <a:pt x="16" y="110"/>
                    <a:pt x="9" y="104"/>
                    <a:pt x="9" y="95"/>
                  </a:cubicBezTo>
                  <a:cubicBezTo>
                    <a:pt x="9" y="87"/>
                    <a:pt x="16" y="80"/>
                    <a:pt x="2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00"/>
            <p:cNvSpPr>
              <a:spLocks/>
            </p:cNvSpPr>
            <p:nvPr/>
          </p:nvSpPr>
          <p:spPr bwMode="auto">
            <a:xfrm>
              <a:off x="6518889" y="4927601"/>
              <a:ext cx="369887" cy="157163"/>
            </a:xfrm>
            <a:custGeom>
              <a:avLst/>
              <a:gdLst>
                <a:gd name="T0" fmla="*/ 279 w 284"/>
                <a:gd name="T1" fmla="*/ 112 h 121"/>
                <a:gd name="T2" fmla="*/ 264 w 284"/>
                <a:gd name="T3" fmla="*/ 112 h 121"/>
                <a:gd name="T4" fmla="*/ 264 w 284"/>
                <a:gd name="T5" fmla="*/ 5 h 121"/>
                <a:gd name="T6" fmla="*/ 260 w 284"/>
                <a:gd name="T7" fmla="*/ 0 h 121"/>
                <a:gd name="T8" fmla="*/ 255 w 284"/>
                <a:gd name="T9" fmla="*/ 5 h 121"/>
                <a:gd name="T10" fmla="*/ 255 w 284"/>
                <a:gd name="T11" fmla="*/ 112 h 121"/>
                <a:gd name="T12" fmla="*/ 225 w 284"/>
                <a:gd name="T13" fmla="*/ 112 h 121"/>
                <a:gd name="T14" fmla="*/ 225 w 284"/>
                <a:gd name="T15" fmla="*/ 27 h 121"/>
                <a:gd name="T16" fmla="*/ 220 w 284"/>
                <a:gd name="T17" fmla="*/ 23 h 121"/>
                <a:gd name="T18" fmla="*/ 216 w 284"/>
                <a:gd name="T19" fmla="*/ 27 h 121"/>
                <a:gd name="T20" fmla="*/ 216 w 284"/>
                <a:gd name="T21" fmla="*/ 112 h 121"/>
                <a:gd name="T22" fmla="*/ 186 w 284"/>
                <a:gd name="T23" fmla="*/ 112 h 121"/>
                <a:gd name="T24" fmla="*/ 186 w 284"/>
                <a:gd name="T25" fmla="*/ 77 h 121"/>
                <a:gd name="T26" fmla="*/ 181 w 284"/>
                <a:gd name="T27" fmla="*/ 72 h 121"/>
                <a:gd name="T28" fmla="*/ 177 w 284"/>
                <a:gd name="T29" fmla="*/ 77 h 121"/>
                <a:gd name="T30" fmla="*/ 177 w 284"/>
                <a:gd name="T31" fmla="*/ 112 h 121"/>
                <a:gd name="T32" fmla="*/ 146 w 284"/>
                <a:gd name="T33" fmla="*/ 112 h 121"/>
                <a:gd name="T34" fmla="*/ 146 w 284"/>
                <a:gd name="T35" fmla="*/ 37 h 121"/>
                <a:gd name="T36" fmla="*/ 142 w 284"/>
                <a:gd name="T37" fmla="*/ 33 h 121"/>
                <a:gd name="T38" fmla="*/ 137 w 284"/>
                <a:gd name="T39" fmla="*/ 37 h 121"/>
                <a:gd name="T40" fmla="*/ 137 w 284"/>
                <a:gd name="T41" fmla="*/ 112 h 121"/>
                <a:gd name="T42" fmla="*/ 107 w 284"/>
                <a:gd name="T43" fmla="*/ 112 h 121"/>
                <a:gd name="T44" fmla="*/ 107 w 284"/>
                <a:gd name="T45" fmla="*/ 14 h 121"/>
                <a:gd name="T46" fmla="*/ 103 w 284"/>
                <a:gd name="T47" fmla="*/ 10 h 121"/>
                <a:gd name="T48" fmla="*/ 98 w 284"/>
                <a:gd name="T49" fmla="*/ 14 h 121"/>
                <a:gd name="T50" fmla="*/ 98 w 284"/>
                <a:gd name="T51" fmla="*/ 112 h 121"/>
                <a:gd name="T52" fmla="*/ 68 w 284"/>
                <a:gd name="T53" fmla="*/ 112 h 121"/>
                <a:gd name="T54" fmla="*/ 68 w 284"/>
                <a:gd name="T55" fmla="*/ 31 h 121"/>
                <a:gd name="T56" fmla="*/ 63 w 284"/>
                <a:gd name="T57" fmla="*/ 27 h 121"/>
                <a:gd name="T58" fmla="*/ 59 w 284"/>
                <a:gd name="T59" fmla="*/ 31 h 121"/>
                <a:gd name="T60" fmla="*/ 59 w 284"/>
                <a:gd name="T61" fmla="*/ 112 h 121"/>
                <a:gd name="T62" fmla="*/ 30 w 284"/>
                <a:gd name="T63" fmla="*/ 112 h 121"/>
                <a:gd name="T64" fmla="*/ 30 w 284"/>
                <a:gd name="T65" fmla="*/ 77 h 121"/>
                <a:gd name="T66" fmla="*/ 26 w 284"/>
                <a:gd name="T67" fmla="*/ 72 h 121"/>
                <a:gd name="T68" fmla="*/ 21 w 284"/>
                <a:gd name="T69" fmla="*/ 77 h 121"/>
                <a:gd name="T70" fmla="*/ 21 w 284"/>
                <a:gd name="T71" fmla="*/ 112 h 121"/>
                <a:gd name="T72" fmla="*/ 5 w 284"/>
                <a:gd name="T73" fmla="*/ 112 h 121"/>
                <a:gd name="T74" fmla="*/ 0 w 284"/>
                <a:gd name="T75" fmla="*/ 116 h 121"/>
                <a:gd name="T76" fmla="*/ 5 w 284"/>
                <a:gd name="T77" fmla="*/ 121 h 121"/>
                <a:gd name="T78" fmla="*/ 279 w 284"/>
                <a:gd name="T79" fmla="*/ 121 h 121"/>
                <a:gd name="T80" fmla="*/ 284 w 284"/>
                <a:gd name="T81" fmla="*/ 116 h 121"/>
                <a:gd name="T82" fmla="*/ 279 w 284"/>
                <a:gd name="T83" fmla="*/ 1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121">
                  <a:moveTo>
                    <a:pt x="279" y="112"/>
                  </a:moveTo>
                  <a:cubicBezTo>
                    <a:pt x="264" y="112"/>
                    <a:pt x="264" y="112"/>
                    <a:pt x="264" y="112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64" y="2"/>
                    <a:pt x="262" y="0"/>
                    <a:pt x="260" y="0"/>
                  </a:cubicBezTo>
                  <a:cubicBezTo>
                    <a:pt x="257" y="0"/>
                    <a:pt x="255" y="2"/>
                    <a:pt x="255" y="5"/>
                  </a:cubicBezTo>
                  <a:cubicBezTo>
                    <a:pt x="255" y="112"/>
                    <a:pt x="255" y="112"/>
                    <a:pt x="255" y="112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25"/>
                    <a:pt x="223" y="23"/>
                    <a:pt x="220" y="23"/>
                  </a:cubicBezTo>
                  <a:cubicBezTo>
                    <a:pt x="218" y="23"/>
                    <a:pt x="216" y="25"/>
                    <a:pt x="216" y="27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6" y="74"/>
                    <a:pt x="184" y="72"/>
                    <a:pt x="181" y="72"/>
                  </a:cubicBezTo>
                  <a:cubicBezTo>
                    <a:pt x="179" y="72"/>
                    <a:pt x="177" y="74"/>
                    <a:pt x="177" y="7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5"/>
                    <a:pt x="144" y="33"/>
                    <a:pt x="142" y="33"/>
                  </a:cubicBezTo>
                  <a:cubicBezTo>
                    <a:pt x="139" y="33"/>
                    <a:pt x="137" y="35"/>
                    <a:pt x="137" y="37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2"/>
                    <a:pt x="105" y="10"/>
                    <a:pt x="103" y="10"/>
                  </a:cubicBezTo>
                  <a:cubicBezTo>
                    <a:pt x="100" y="10"/>
                    <a:pt x="98" y="12"/>
                    <a:pt x="98" y="14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8" y="29"/>
                    <a:pt x="66" y="27"/>
                    <a:pt x="63" y="27"/>
                  </a:cubicBezTo>
                  <a:cubicBezTo>
                    <a:pt x="61" y="27"/>
                    <a:pt x="59" y="29"/>
                    <a:pt x="59" y="31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4"/>
                    <a:pt x="28" y="72"/>
                    <a:pt x="26" y="72"/>
                  </a:cubicBezTo>
                  <a:cubicBezTo>
                    <a:pt x="23" y="72"/>
                    <a:pt x="21" y="74"/>
                    <a:pt x="21" y="77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2" y="112"/>
                    <a:pt x="0" y="114"/>
                    <a:pt x="0" y="116"/>
                  </a:cubicBezTo>
                  <a:cubicBezTo>
                    <a:pt x="0" y="119"/>
                    <a:pt x="2" y="121"/>
                    <a:pt x="5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82" y="121"/>
                    <a:pt x="284" y="119"/>
                    <a:pt x="284" y="116"/>
                  </a:cubicBezTo>
                  <a:cubicBezTo>
                    <a:pt x="284" y="114"/>
                    <a:pt x="282" y="112"/>
                    <a:pt x="2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01"/>
            <p:cNvSpPr>
              <a:spLocks/>
            </p:cNvSpPr>
            <p:nvPr/>
          </p:nvSpPr>
          <p:spPr bwMode="auto">
            <a:xfrm>
              <a:off x="6728439" y="4740276"/>
              <a:ext cx="142875" cy="193675"/>
            </a:xfrm>
            <a:custGeom>
              <a:avLst/>
              <a:gdLst>
                <a:gd name="T0" fmla="*/ 0 w 110"/>
                <a:gd name="T1" fmla="*/ 57 h 149"/>
                <a:gd name="T2" fmla="*/ 5 w 110"/>
                <a:gd name="T3" fmla="*/ 60 h 149"/>
                <a:gd name="T4" fmla="*/ 20 w 110"/>
                <a:gd name="T5" fmla="*/ 60 h 149"/>
                <a:gd name="T6" fmla="*/ 20 w 110"/>
                <a:gd name="T7" fmla="*/ 145 h 149"/>
                <a:gd name="T8" fmla="*/ 24 w 110"/>
                <a:gd name="T9" fmla="*/ 149 h 149"/>
                <a:gd name="T10" fmla="*/ 28 w 110"/>
                <a:gd name="T11" fmla="*/ 145 h 149"/>
                <a:gd name="T12" fmla="*/ 28 w 110"/>
                <a:gd name="T13" fmla="*/ 55 h 149"/>
                <a:gd name="T14" fmla="*/ 24 w 110"/>
                <a:gd name="T15" fmla="*/ 51 h 149"/>
                <a:gd name="T16" fmla="*/ 15 w 110"/>
                <a:gd name="T17" fmla="*/ 51 h 149"/>
                <a:gd name="T18" fmla="*/ 54 w 110"/>
                <a:gd name="T19" fmla="*/ 12 h 149"/>
                <a:gd name="T20" fmla="*/ 95 w 110"/>
                <a:gd name="T21" fmla="*/ 52 h 149"/>
                <a:gd name="T22" fmla="*/ 86 w 110"/>
                <a:gd name="T23" fmla="*/ 52 h 149"/>
                <a:gd name="T24" fmla="*/ 81 w 110"/>
                <a:gd name="T25" fmla="*/ 57 h 149"/>
                <a:gd name="T26" fmla="*/ 81 w 110"/>
                <a:gd name="T27" fmla="*/ 84 h 149"/>
                <a:gd name="T28" fmla="*/ 86 w 110"/>
                <a:gd name="T29" fmla="*/ 89 h 149"/>
                <a:gd name="T30" fmla="*/ 90 w 110"/>
                <a:gd name="T31" fmla="*/ 84 h 149"/>
                <a:gd name="T32" fmla="*/ 90 w 110"/>
                <a:gd name="T33" fmla="*/ 61 h 149"/>
                <a:gd name="T34" fmla="*/ 105 w 110"/>
                <a:gd name="T35" fmla="*/ 61 h 149"/>
                <a:gd name="T36" fmla="*/ 110 w 110"/>
                <a:gd name="T37" fmla="*/ 59 h 149"/>
                <a:gd name="T38" fmla="*/ 109 w 110"/>
                <a:gd name="T39" fmla="*/ 54 h 149"/>
                <a:gd name="T40" fmla="*/ 57 w 110"/>
                <a:gd name="T41" fmla="*/ 2 h 149"/>
                <a:gd name="T42" fmla="*/ 51 w 110"/>
                <a:gd name="T43" fmla="*/ 2 h 149"/>
                <a:gd name="T44" fmla="*/ 1 w 110"/>
                <a:gd name="T45" fmla="*/ 52 h 149"/>
                <a:gd name="T46" fmla="*/ 0 w 110"/>
                <a:gd name="T47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9">
                  <a:moveTo>
                    <a:pt x="0" y="57"/>
                  </a:moveTo>
                  <a:cubicBezTo>
                    <a:pt x="1" y="59"/>
                    <a:pt x="3" y="60"/>
                    <a:pt x="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20" y="147"/>
                    <a:pt x="22" y="149"/>
                    <a:pt x="24" y="149"/>
                  </a:cubicBezTo>
                  <a:cubicBezTo>
                    <a:pt x="26" y="149"/>
                    <a:pt x="28" y="147"/>
                    <a:pt x="28" y="14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3"/>
                    <a:pt x="26" y="51"/>
                    <a:pt x="2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3" y="52"/>
                    <a:pt x="81" y="54"/>
                    <a:pt x="81" y="57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1" y="87"/>
                    <a:pt x="83" y="89"/>
                    <a:pt x="86" y="89"/>
                  </a:cubicBezTo>
                  <a:cubicBezTo>
                    <a:pt x="88" y="89"/>
                    <a:pt x="90" y="87"/>
                    <a:pt x="90" y="84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7" y="61"/>
                    <a:pt x="109" y="60"/>
                    <a:pt x="110" y="59"/>
                  </a:cubicBezTo>
                  <a:cubicBezTo>
                    <a:pt x="110" y="57"/>
                    <a:pt x="110" y="55"/>
                    <a:pt x="109" y="54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53"/>
                    <a:pt x="0" y="55"/>
                    <a:pt x="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502"/>
            <p:cNvSpPr>
              <a:spLocks/>
            </p:cNvSpPr>
            <p:nvPr/>
          </p:nvSpPr>
          <p:spPr bwMode="auto">
            <a:xfrm>
              <a:off x="6630014" y="4714876"/>
              <a:ext cx="115887" cy="101600"/>
            </a:xfrm>
            <a:custGeom>
              <a:avLst/>
              <a:gdLst>
                <a:gd name="T0" fmla="*/ 5 w 89"/>
                <a:gd name="T1" fmla="*/ 60 h 78"/>
                <a:gd name="T2" fmla="*/ 18 w 89"/>
                <a:gd name="T3" fmla="*/ 60 h 78"/>
                <a:gd name="T4" fmla="*/ 18 w 89"/>
                <a:gd name="T5" fmla="*/ 74 h 78"/>
                <a:gd name="T6" fmla="*/ 23 w 89"/>
                <a:gd name="T7" fmla="*/ 78 h 78"/>
                <a:gd name="T8" fmla="*/ 27 w 89"/>
                <a:gd name="T9" fmla="*/ 74 h 78"/>
                <a:gd name="T10" fmla="*/ 27 w 89"/>
                <a:gd name="T11" fmla="*/ 55 h 78"/>
                <a:gd name="T12" fmla="*/ 23 w 89"/>
                <a:gd name="T13" fmla="*/ 51 h 78"/>
                <a:gd name="T14" fmla="*/ 16 w 89"/>
                <a:gd name="T15" fmla="*/ 51 h 78"/>
                <a:gd name="T16" fmla="*/ 54 w 89"/>
                <a:gd name="T17" fmla="*/ 11 h 78"/>
                <a:gd name="T18" fmla="*/ 81 w 89"/>
                <a:gd name="T19" fmla="*/ 38 h 78"/>
                <a:gd name="T20" fmla="*/ 87 w 89"/>
                <a:gd name="T21" fmla="*/ 38 h 78"/>
                <a:gd name="T22" fmla="*/ 87 w 89"/>
                <a:gd name="T23" fmla="*/ 32 h 78"/>
                <a:gd name="T24" fmla="*/ 58 w 89"/>
                <a:gd name="T25" fmla="*/ 2 h 78"/>
                <a:gd name="T26" fmla="*/ 51 w 89"/>
                <a:gd name="T27" fmla="*/ 2 h 78"/>
                <a:gd name="T28" fmla="*/ 2 w 89"/>
                <a:gd name="T29" fmla="*/ 52 h 78"/>
                <a:gd name="T30" fmla="*/ 1 w 89"/>
                <a:gd name="T31" fmla="*/ 57 h 78"/>
                <a:gd name="T32" fmla="*/ 5 w 89"/>
                <a:gd name="T33" fmla="*/ 6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8">
                  <a:moveTo>
                    <a:pt x="5" y="60"/>
                  </a:moveTo>
                  <a:cubicBezTo>
                    <a:pt x="18" y="60"/>
                    <a:pt x="18" y="60"/>
                    <a:pt x="18" y="60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6"/>
                    <a:pt x="20" y="78"/>
                    <a:pt x="23" y="78"/>
                  </a:cubicBezTo>
                  <a:cubicBezTo>
                    <a:pt x="25" y="78"/>
                    <a:pt x="27" y="76"/>
                    <a:pt x="27" y="7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3"/>
                    <a:pt x="25" y="51"/>
                    <a:pt x="23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3" y="40"/>
                    <a:pt x="85" y="40"/>
                    <a:pt x="87" y="38"/>
                  </a:cubicBezTo>
                  <a:cubicBezTo>
                    <a:pt x="89" y="36"/>
                    <a:pt x="89" y="33"/>
                    <a:pt x="87" y="3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3"/>
                    <a:pt x="0" y="55"/>
                    <a:pt x="1" y="57"/>
                  </a:cubicBezTo>
                  <a:cubicBezTo>
                    <a:pt x="1" y="58"/>
                    <a:pt x="3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03"/>
            <p:cNvSpPr>
              <a:spLocks/>
            </p:cNvSpPr>
            <p:nvPr/>
          </p:nvSpPr>
          <p:spPr bwMode="auto">
            <a:xfrm>
              <a:off x="6528414" y="4781551"/>
              <a:ext cx="138112" cy="160338"/>
            </a:xfrm>
            <a:custGeom>
              <a:avLst/>
              <a:gdLst>
                <a:gd name="T0" fmla="*/ 5 w 107"/>
                <a:gd name="T1" fmla="*/ 57 h 123"/>
                <a:gd name="T2" fmla="*/ 17 w 107"/>
                <a:gd name="T3" fmla="*/ 57 h 123"/>
                <a:gd name="T4" fmla="*/ 17 w 107"/>
                <a:gd name="T5" fmla="*/ 119 h 123"/>
                <a:gd name="T6" fmla="*/ 21 w 107"/>
                <a:gd name="T7" fmla="*/ 123 h 123"/>
                <a:gd name="T8" fmla="*/ 26 w 107"/>
                <a:gd name="T9" fmla="*/ 119 h 123"/>
                <a:gd name="T10" fmla="*/ 26 w 107"/>
                <a:gd name="T11" fmla="*/ 53 h 123"/>
                <a:gd name="T12" fmla="*/ 21 w 107"/>
                <a:gd name="T13" fmla="*/ 48 h 123"/>
                <a:gd name="T14" fmla="*/ 15 w 107"/>
                <a:gd name="T15" fmla="*/ 48 h 123"/>
                <a:gd name="T16" fmla="*/ 52 w 107"/>
                <a:gd name="T17" fmla="*/ 11 h 123"/>
                <a:gd name="T18" fmla="*/ 91 w 107"/>
                <a:gd name="T19" fmla="*/ 50 h 123"/>
                <a:gd name="T20" fmla="*/ 84 w 107"/>
                <a:gd name="T21" fmla="*/ 50 h 123"/>
                <a:gd name="T22" fmla="*/ 80 w 107"/>
                <a:gd name="T23" fmla="*/ 55 h 123"/>
                <a:gd name="T24" fmla="*/ 80 w 107"/>
                <a:gd name="T25" fmla="*/ 60 h 123"/>
                <a:gd name="T26" fmla="*/ 84 w 107"/>
                <a:gd name="T27" fmla="*/ 64 h 123"/>
                <a:gd name="T28" fmla="*/ 89 w 107"/>
                <a:gd name="T29" fmla="*/ 60 h 123"/>
                <a:gd name="T30" fmla="*/ 89 w 107"/>
                <a:gd name="T31" fmla="*/ 59 h 123"/>
                <a:gd name="T32" fmla="*/ 102 w 107"/>
                <a:gd name="T33" fmla="*/ 59 h 123"/>
                <a:gd name="T34" fmla="*/ 106 w 107"/>
                <a:gd name="T35" fmla="*/ 57 h 123"/>
                <a:gd name="T36" fmla="*/ 105 w 107"/>
                <a:gd name="T37" fmla="*/ 52 h 123"/>
                <a:gd name="T38" fmla="*/ 55 w 107"/>
                <a:gd name="T39" fmla="*/ 2 h 123"/>
                <a:gd name="T40" fmla="*/ 49 w 107"/>
                <a:gd name="T41" fmla="*/ 2 h 123"/>
                <a:gd name="T42" fmla="*/ 1 w 107"/>
                <a:gd name="T43" fmla="*/ 49 h 123"/>
                <a:gd name="T44" fmla="*/ 0 w 107"/>
                <a:gd name="T45" fmla="*/ 54 h 123"/>
                <a:gd name="T46" fmla="*/ 5 w 107"/>
                <a:gd name="T47" fmla="*/ 5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5" y="57"/>
                  </a:moveTo>
                  <a:cubicBezTo>
                    <a:pt x="17" y="57"/>
                    <a:pt x="17" y="57"/>
                    <a:pt x="17" y="57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21"/>
                    <a:pt x="19" y="123"/>
                    <a:pt x="21" y="123"/>
                  </a:cubicBezTo>
                  <a:cubicBezTo>
                    <a:pt x="24" y="123"/>
                    <a:pt x="26" y="121"/>
                    <a:pt x="26" y="119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6" y="50"/>
                    <a:pt x="24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2" y="50"/>
                    <a:pt x="80" y="52"/>
                    <a:pt x="80" y="5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82" y="64"/>
                    <a:pt x="84" y="64"/>
                  </a:cubicBezTo>
                  <a:cubicBezTo>
                    <a:pt x="87" y="64"/>
                    <a:pt x="89" y="62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4" y="59"/>
                    <a:pt x="105" y="58"/>
                    <a:pt x="106" y="57"/>
                  </a:cubicBezTo>
                  <a:cubicBezTo>
                    <a:pt x="107" y="55"/>
                    <a:pt x="106" y="53"/>
                    <a:pt x="105" y="5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0"/>
                    <a:pt x="51" y="0"/>
                    <a:pt x="49" y="2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1" y="56"/>
                    <a:pt x="3" y="57"/>
                    <a:pt x="5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3424"/>
          <p:cNvGrpSpPr/>
          <p:nvPr/>
        </p:nvGrpSpPr>
        <p:grpSpPr>
          <a:xfrm>
            <a:off x="7142093" y="1518832"/>
            <a:ext cx="371475" cy="369888"/>
            <a:chOff x="5575914" y="2635251"/>
            <a:chExt cx="371475" cy="369888"/>
          </a:xfrm>
        </p:grpSpPr>
        <p:sp>
          <p:nvSpPr>
            <p:cNvPr id="51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1" name="Freeform 140"/>
          <p:cNvSpPr/>
          <p:nvPr/>
        </p:nvSpPr>
        <p:spPr>
          <a:xfrm>
            <a:off x="492303" y="5138085"/>
            <a:ext cx="9098377" cy="1642704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rgbClr val="EF7F1A"/>
                </a:solidFill>
              </a:rPr>
              <a:t>                      </a:t>
            </a:r>
            <a:r>
              <a:rPr lang="ru-RU" sz="1600" dirty="0" smtClean="0">
                <a:solidFill>
                  <a:srgbClr val="EF7F1A"/>
                </a:solidFill>
              </a:rPr>
              <a:t>Выполнение мероприятий позволит</a:t>
            </a:r>
            <a:r>
              <a:rPr lang="ru-RU" sz="1600" dirty="0">
                <a:solidFill>
                  <a:srgbClr val="EF7F1A"/>
                </a:solidFill>
              </a:rPr>
              <a:t>:</a:t>
            </a:r>
          </a:p>
        </p:txBody>
      </p:sp>
      <p:sp>
        <p:nvSpPr>
          <p:cNvPr id="72" name="Rectangle 5"/>
          <p:cNvSpPr>
            <a:spLocks noChangeArrowheads="1"/>
          </p:cNvSpPr>
          <p:nvPr/>
        </p:nvSpPr>
        <p:spPr bwMode="auto">
          <a:xfrm>
            <a:off x="586399" y="5415191"/>
            <a:ext cx="10583395" cy="127255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32373C"/>
                </a:solidFill>
              </a:rPr>
              <a:t> </a:t>
            </a:r>
            <a:r>
              <a:rPr lang="ru-RU" sz="1600" kern="0" dirty="0">
                <a:solidFill>
                  <a:srgbClr val="32373C"/>
                </a:solidFill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solidFill>
                  <a:srgbClr val="32373C"/>
                </a:solidFill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>
                <a:solidFill>
                  <a:srgbClr val="32373C"/>
                </a:solidFill>
              </a:rPr>
              <a:t>;</a:t>
            </a:r>
            <a:endParaRPr lang="ru-RU" sz="1600" dirty="0">
              <a:solidFill>
                <a:srgbClr val="32373C"/>
              </a:solidFill>
            </a:endParaRP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32373C"/>
                </a:solidFill>
              </a:rPr>
              <a:t> </a:t>
            </a:r>
            <a:r>
              <a:rPr lang="ru-RU" sz="1600" kern="0" dirty="0">
                <a:solidFill>
                  <a:srgbClr val="32373C"/>
                </a:solidFill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>
                <a:solidFill>
                  <a:srgbClr val="32373C"/>
                </a:solidFill>
              </a:rPr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32373C"/>
                </a:solidFill>
              </a:rPr>
              <a:t>  повысить эффективность </a:t>
            </a:r>
            <a:r>
              <a:rPr lang="ru-RU" sz="1600" dirty="0">
                <a:solidFill>
                  <a:srgbClr val="32373C"/>
                </a:solidFill>
              </a:rPr>
              <a:t>работы </a:t>
            </a:r>
            <a:r>
              <a:rPr lang="ru-RU" sz="1600" dirty="0" smtClean="0">
                <a:solidFill>
                  <a:srgbClr val="32373C"/>
                </a:solidFill>
              </a:rPr>
              <a:t>оборудования и качество </a:t>
            </a:r>
            <a:r>
              <a:rPr lang="ru-RU" sz="1600" dirty="0">
                <a:solidFill>
                  <a:srgbClr val="32373C"/>
                </a:solidFill>
              </a:rPr>
              <a:t>предоставляемых </a:t>
            </a:r>
            <a:r>
              <a:rPr lang="ru-RU" sz="1600" dirty="0" smtClean="0">
                <a:solidFill>
                  <a:srgbClr val="32373C"/>
                </a:solidFill>
              </a:rPr>
              <a:t>регулируемых услуг</a:t>
            </a:r>
            <a:endParaRPr lang="ru-RU" sz="1600" dirty="0">
              <a:solidFill>
                <a:srgbClr val="32373C"/>
              </a:solidFill>
            </a:endParaRPr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605" y="4899795"/>
            <a:ext cx="719657" cy="648976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324" y="1824092"/>
            <a:ext cx="384081" cy="384081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524" y="3664522"/>
            <a:ext cx="384081" cy="38408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140119" y="3050888"/>
            <a:ext cx="6339178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Направлена заявка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на изменение утвержденных тарифов на услуги по производству тепловой энергии на </a:t>
            </a: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2025-2026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годы до истечения его срока действия</a:t>
            </a:r>
            <a:endParaRPr lang="ru-RU" sz="1200" dirty="0"/>
          </a:p>
        </p:txBody>
      </p:sp>
      <p:sp>
        <p:nvSpPr>
          <p:cNvPr id="58" name="Rectangle 46"/>
          <p:cNvSpPr/>
          <p:nvPr/>
        </p:nvSpPr>
        <p:spPr>
          <a:xfrm>
            <a:off x="6631086" y="4252842"/>
            <a:ext cx="973591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204,1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47" name="Rectangle 41"/>
          <p:cNvSpPr/>
          <p:nvPr/>
        </p:nvSpPr>
        <p:spPr>
          <a:xfrm>
            <a:off x="6660991" y="2364922"/>
            <a:ext cx="1473728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5 </a:t>
            </a:r>
            <a:r>
              <a:rPr lang="ru-RU" sz="2800" dirty="0" smtClean="0">
                <a:solidFill>
                  <a:schemeClr val="accent1"/>
                </a:solidFill>
              </a:rPr>
              <a:t>800,56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48" name="Rectangle 36"/>
          <p:cNvSpPr/>
          <p:nvPr/>
        </p:nvSpPr>
        <p:spPr>
          <a:xfrm>
            <a:off x="6793987" y="2746226"/>
            <a:ext cx="112483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grpSp>
        <p:nvGrpSpPr>
          <p:cNvPr id="49" name="Group 37"/>
          <p:cNvGrpSpPr/>
          <p:nvPr/>
        </p:nvGrpSpPr>
        <p:grpSpPr>
          <a:xfrm>
            <a:off x="5592206" y="3438042"/>
            <a:ext cx="172580" cy="3051175"/>
            <a:chOff x="10288826" y="2803525"/>
            <a:chExt cx="172580" cy="3051175"/>
          </a:xfrm>
          <a:scene3d>
            <a:camera prst="orthographicFront">
              <a:rot lat="0" lon="21299999" rev="16200000"/>
            </a:camera>
            <a:lightRig rig="threePt" dir="t"/>
          </a:scene3d>
        </p:grpSpPr>
        <p:grpSp>
          <p:nvGrpSpPr>
            <p:cNvPr id="59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62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3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60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1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3941178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4186989"/>
            <a:ext cx="5038239" cy="1964575"/>
          </a:xfrm>
        </p:spPr>
        <p:txBody>
          <a:bodyPr/>
          <a:lstStyle/>
          <a:p>
            <a:r>
              <a:rPr lang="ru-RU" sz="6600" dirty="0" smtClean="0"/>
              <a:t>Спасибо за внимание </a:t>
            </a:r>
            <a:endParaRPr lang="en-US" sz="6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Энергетика</a:t>
            </a:r>
          </a:p>
        </p:txBody>
      </p:sp>
    </p:spTree>
    <p:extLst>
      <p:ext uri="{BB962C8B-B14F-4D97-AF65-F5344CB8AC3E}">
        <p14:creationId xmlns:p14="http://schemas.microsoft.com/office/powerpoint/2010/main" val="3060960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" dirty="0">
                <a:solidFill>
                  <a:srgbClr val="DB700F"/>
                </a:solidFill>
              </a:rPr>
              <a:t>Общие сведения </a:t>
            </a: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56727" y="3732779"/>
            <a:ext cx="56191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- природный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газ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(газ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на станцию подается по индивидуальной ветке от магистрального трубопровода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Газли-Шымкент); 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зерв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– топочный мазут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1383" y="868079"/>
            <a:ext cx="1177826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АО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«3-Энергоорталык» -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энергоисточник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с комбинированным производством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ой и тепловой энергии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. </a:t>
            </a:r>
            <a:endParaRPr lang="ru-RU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221382" y="1198211"/>
            <a:ext cx="5619182" cy="22390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ые технические показатели: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Установленн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ая мощность станции - 160 Мвт. </a:t>
            </a:r>
            <a:endParaRPr lang="ru-RU" sz="1600" dirty="0" smtClean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боч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ощность станции составляет до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75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Вт летом и до 140 МВт зимой.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епловая мощность станции позволяет выдавать до 500 Гкал/час тепла в горячей воде и до 205 т/час пара разных параметров (60 атм., 35 атм., 16 атм.). </a:t>
            </a:r>
            <a:endParaRPr lang="ru-RU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221382" y="5672263"/>
            <a:ext cx="11540825" cy="8309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625475">
              <a:spcBef>
                <a:spcPts val="300"/>
              </a:spcBef>
              <a:spcAft>
                <a:spcPts val="300"/>
              </a:spcAft>
            </a:pPr>
            <a:r>
              <a:rPr lang="ru" sz="1600" dirty="0">
                <a:latin typeface="Arial" panose="020B0604020202020204" pitchFamily="34" charset="0"/>
                <a:cs typeface="Arial" panose="020B0604020202020204" pitchFamily="34" charset="0"/>
              </a:rPr>
              <a:t>АО «3-Энергоорталык» включено в местный раздел Государственного регистра субъектов естественных монополий по услуге «</a:t>
            </a:r>
            <a:r>
              <a:rPr lang="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о тепловой энергии</a:t>
            </a:r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" b="1" cap="sm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приказ Департамента Комитета по регулированию естественных монополий и защите конкуренции МНЭ РК по ЮКО №304-ОД от 13 ноября 2015 года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grpSp>
        <p:nvGrpSpPr>
          <p:cNvPr id="14" name="Group 488"/>
          <p:cNvGrpSpPr/>
          <p:nvPr/>
        </p:nvGrpSpPr>
        <p:grpSpPr>
          <a:xfrm>
            <a:off x="317500" y="5564144"/>
            <a:ext cx="371475" cy="371475"/>
            <a:chOff x="-2103438" y="3878264"/>
            <a:chExt cx="371475" cy="371475"/>
          </a:xfrm>
        </p:grpSpPr>
        <p:sp>
          <p:nvSpPr>
            <p:cNvPr id="15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488"/>
          <p:cNvGrpSpPr/>
          <p:nvPr/>
        </p:nvGrpSpPr>
        <p:grpSpPr>
          <a:xfrm>
            <a:off x="284163" y="759960"/>
            <a:ext cx="371475" cy="371475"/>
            <a:chOff x="-2103438" y="3878264"/>
            <a:chExt cx="371475" cy="371475"/>
          </a:xfrm>
        </p:grpSpPr>
        <p:sp>
          <p:nvSpPr>
            <p:cNvPr id="27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357" y="1277529"/>
            <a:ext cx="5417850" cy="3985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60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8997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4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499" y="0"/>
            <a:ext cx="9836151" cy="704850"/>
          </a:xfrm>
        </p:spPr>
        <p:txBody>
          <a:bodyPr vert="horz"/>
          <a:lstStyle/>
          <a:p>
            <a:r>
              <a:rPr lang="ru-RU" dirty="0"/>
              <a:t>Информация </a:t>
            </a:r>
            <a:r>
              <a:rPr lang="kk-KZ" dirty="0"/>
              <a:t>об исполнении утвержденной </a:t>
            </a:r>
            <a:r>
              <a:rPr lang="ru-RU" dirty="0"/>
              <a:t>инвестиционной программы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АО </a:t>
            </a:r>
            <a:r>
              <a:rPr lang="ru-RU" dirty="0"/>
              <a:t>«3-Энергоорталык» </a:t>
            </a:r>
            <a:r>
              <a:rPr lang="ru-RU" dirty="0" smtClean="0"/>
              <a:t>по итогам 1 полугодия 2025 года </a:t>
            </a:r>
            <a:endParaRPr 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38125" y="6346252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* </a:t>
            </a:r>
            <a:r>
              <a:rPr lang="ru-RU" sz="1000" dirty="0" smtClean="0"/>
              <a:t>убыток </a:t>
            </a:r>
            <a:r>
              <a:rPr lang="ru-RU" sz="1000" dirty="0"/>
              <a:t>по услуге производство тепловой энергии за 1-е полугодие </a:t>
            </a:r>
            <a:r>
              <a:rPr lang="ru-RU" sz="1000" dirty="0" smtClean="0"/>
              <a:t>2025г</a:t>
            </a:r>
            <a:endParaRPr lang="ru-RU" sz="10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1331892"/>
              </p:ext>
            </p:extLst>
          </p:nvPr>
        </p:nvGraphicFramePr>
        <p:xfrm>
          <a:off x="238123" y="781053"/>
          <a:ext cx="11830051" cy="5538435"/>
        </p:xfrm>
        <a:graphic>
          <a:graphicData uri="http://schemas.openxmlformats.org/drawingml/2006/table">
            <a:tbl>
              <a:tblPr/>
              <a:tblGrid>
                <a:gridCol w="486090">
                  <a:extLst>
                    <a:ext uri="{9D8B030D-6E8A-4147-A177-3AD203B41FA5}">
                      <a16:colId xmlns:a16="http://schemas.microsoft.com/office/drawing/2014/main" val="4149866902"/>
                    </a:ext>
                  </a:extLst>
                </a:gridCol>
                <a:gridCol w="1244687">
                  <a:extLst>
                    <a:ext uri="{9D8B030D-6E8A-4147-A177-3AD203B41FA5}">
                      <a16:colId xmlns:a16="http://schemas.microsoft.com/office/drawing/2014/main" val="2627301510"/>
                    </a:ext>
                  </a:extLst>
                </a:gridCol>
                <a:gridCol w="1244687">
                  <a:extLst>
                    <a:ext uri="{9D8B030D-6E8A-4147-A177-3AD203B41FA5}">
                      <a16:colId xmlns:a16="http://schemas.microsoft.com/office/drawing/2014/main" val="2956698024"/>
                    </a:ext>
                  </a:extLst>
                </a:gridCol>
                <a:gridCol w="324061">
                  <a:extLst>
                    <a:ext uri="{9D8B030D-6E8A-4147-A177-3AD203B41FA5}">
                      <a16:colId xmlns:a16="http://schemas.microsoft.com/office/drawing/2014/main" val="2884024773"/>
                    </a:ext>
                  </a:extLst>
                </a:gridCol>
                <a:gridCol w="279870">
                  <a:extLst>
                    <a:ext uri="{9D8B030D-6E8A-4147-A177-3AD203B41FA5}">
                      <a16:colId xmlns:a16="http://schemas.microsoft.com/office/drawing/2014/main" val="993672119"/>
                    </a:ext>
                  </a:extLst>
                </a:gridCol>
                <a:gridCol w="405075">
                  <a:extLst>
                    <a:ext uri="{9D8B030D-6E8A-4147-A177-3AD203B41FA5}">
                      <a16:colId xmlns:a16="http://schemas.microsoft.com/office/drawing/2014/main" val="3500658464"/>
                    </a:ext>
                  </a:extLst>
                </a:gridCol>
                <a:gridCol w="324061">
                  <a:extLst>
                    <a:ext uri="{9D8B030D-6E8A-4147-A177-3AD203B41FA5}">
                      <a16:colId xmlns:a16="http://schemas.microsoft.com/office/drawing/2014/main" val="2495950942"/>
                    </a:ext>
                  </a:extLst>
                </a:gridCol>
                <a:gridCol w="206221">
                  <a:extLst>
                    <a:ext uri="{9D8B030D-6E8A-4147-A177-3AD203B41FA5}">
                      <a16:colId xmlns:a16="http://schemas.microsoft.com/office/drawing/2014/main" val="3032304599"/>
                    </a:ext>
                  </a:extLst>
                </a:gridCol>
                <a:gridCol w="504925">
                  <a:extLst>
                    <a:ext uri="{9D8B030D-6E8A-4147-A177-3AD203B41FA5}">
                      <a16:colId xmlns:a16="http://schemas.microsoft.com/office/drawing/2014/main" val="382195008"/>
                    </a:ext>
                  </a:extLst>
                </a:gridCol>
                <a:gridCol w="371475">
                  <a:extLst>
                    <a:ext uri="{9D8B030D-6E8A-4147-A177-3AD203B41FA5}">
                      <a16:colId xmlns:a16="http://schemas.microsoft.com/office/drawing/2014/main" val="3850278079"/>
                    </a:ext>
                  </a:extLst>
                </a:gridCol>
                <a:gridCol w="679460">
                  <a:extLst>
                    <a:ext uri="{9D8B030D-6E8A-4147-A177-3AD203B41FA5}">
                      <a16:colId xmlns:a16="http://schemas.microsoft.com/office/drawing/2014/main" val="3857417348"/>
                    </a:ext>
                  </a:extLst>
                </a:gridCol>
                <a:gridCol w="876436">
                  <a:extLst>
                    <a:ext uri="{9D8B030D-6E8A-4147-A177-3AD203B41FA5}">
                      <a16:colId xmlns:a16="http://schemas.microsoft.com/office/drawing/2014/main" val="3254221773"/>
                    </a:ext>
                  </a:extLst>
                </a:gridCol>
                <a:gridCol w="294601">
                  <a:extLst>
                    <a:ext uri="{9D8B030D-6E8A-4147-A177-3AD203B41FA5}">
                      <a16:colId xmlns:a16="http://schemas.microsoft.com/office/drawing/2014/main" val="3364084190"/>
                    </a:ext>
                  </a:extLst>
                </a:gridCol>
                <a:gridCol w="220950">
                  <a:extLst>
                    <a:ext uri="{9D8B030D-6E8A-4147-A177-3AD203B41FA5}">
                      <a16:colId xmlns:a16="http://schemas.microsoft.com/office/drawing/2014/main" val="3620866068"/>
                    </a:ext>
                  </a:extLst>
                </a:gridCol>
                <a:gridCol w="257776">
                  <a:extLst>
                    <a:ext uri="{9D8B030D-6E8A-4147-A177-3AD203B41FA5}">
                      <a16:colId xmlns:a16="http://schemas.microsoft.com/office/drawing/2014/main" val="782509853"/>
                    </a:ext>
                  </a:extLst>
                </a:gridCol>
                <a:gridCol w="235681">
                  <a:extLst>
                    <a:ext uri="{9D8B030D-6E8A-4147-A177-3AD203B41FA5}">
                      <a16:colId xmlns:a16="http://schemas.microsoft.com/office/drawing/2014/main" val="1344378994"/>
                    </a:ext>
                  </a:extLst>
                </a:gridCol>
                <a:gridCol w="405075">
                  <a:extLst>
                    <a:ext uri="{9D8B030D-6E8A-4147-A177-3AD203B41FA5}">
                      <a16:colId xmlns:a16="http://schemas.microsoft.com/office/drawing/2014/main" val="1916506020"/>
                    </a:ext>
                  </a:extLst>
                </a:gridCol>
                <a:gridCol w="405075">
                  <a:extLst>
                    <a:ext uri="{9D8B030D-6E8A-4147-A177-3AD203B41FA5}">
                      <a16:colId xmlns:a16="http://schemas.microsoft.com/office/drawing/2014/main" val="1811673536"/>
                    </a:ext>
                  </a:extLst>
                </a:gridCol>
                <a:gridCol w="412441">
                  <a:extLst>
                    <a:ext uri="{9D8B030D-6E8A-4147-A177-3AD203B41FA5}">
                      <a16:colId xmlns:a16="http://schemas.microsoft.com/office/drawing/2014/main" val="2743743964"/>
                    </a:ext>
                  </a:extLst>
                </a:gridCol>
                <a:gridCol w="414282">
                  <a:extLst>
                    <a:ext uri="{9D8B030D-6E8A-4147-A177-3AD203B41FA5}">
                      <a16:colId xmlns:a16="http://schemas.microsoft.com/office/drawing/2014/main" val="3161698763"/>
                    </a:ext>
                  </a:extLst>
                </a:gridCol>
                <a:gridCol w="215427">
                  <a:extLst>
                    <a:ext uri="{9D8B030D-6E8A-4147-A177-3AD203B41FA5}">
                      <a16:colId xmlns:a16="http://schemas.microsoft.com/office/drawing/2014/main" val="3143420803"/>
                    </a:ext>
                  </a:extLst>
                </a:gridCol>
                <a:gridCol w="412441">
                  <a:extLst>
                    <a:ext uri="{9D8B030D-6E8A-4147-A177-3AD203B41FA5}">
                      <a16:colId xmlns:a16="http://schemas.microsoft.com/office/drawing/2014/main" val="1571169191"/>
                    </a:ext>
                  </a:extLst>
                </a:gridCol>
                <a:gridCol w="414282">
                  <a:extLst>
                    <a:ext uri="{9D8B030D-6E8A-4147-A177-3AD203B41FA5}">
                      <a16:colId xmlns:a16="http://schemas.microsoft.com/office/drawing/2014/main" val="2547751573"/>
                    </a:ext>
                  </a:extLst>
                </a:gridCol>
                <a:gridCol w="414282">
                  <a:extLst>
                    <a:ext uri="{9D8B030D-6E8A-4147-A177-3AD203B41FA5}">
                      <a16:colId xmlns:a16="http://schemas.microsoft.com/office/drawing/2014/main" val="4119217503"/>
                    </a:ext>
                  </a:extLst>
                </a:gridCol>
                <a:gridCol w="375615">
                  <a:extLst>
                    <a:ext uri="{9D8B030D-6E8A-4147-A177-3AD203B41FA5}">
                      <a16:colId xmlns:a16="http://schemas.microsoft.com/office/drawing/2014/main" val="276395795"/>
                    </a:ext>
                  </a:extLst>
                </a:gridCol>
                <a:gridCol w="405075">
                  <a:extLst>
                    <a:ext uri="{9D8B030D-6E8A-4147-A177-3AD203B41FA5}">
                      <a16:colId xmlns:a16="http://schemas.microsoft.com/office/drawing/2014/main" val="2320840710"/>
                    </a:ext>
                  </a:extLst>
                </a:gridCol>
              </a:tblGrid>
              <a:tr h="690843">
                <a:tc rowSpan="5"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6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плановых и фактических объемах предоставления регулируемых услуг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ет о прибылях и убытках*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умма инвестиционной программы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ен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2513919"/>
                  </a:ext>
                </a:extLst>
              </a:tr>
              <a:tr h="1319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бственные средства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емные средства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юджетные средства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grid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grid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grid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отерь, %, по годам реализации в зависимости от утвержденной инвестиционной программы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 grid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аварийности, по годам реализации в зависимости от утвержденной инвестиционной программы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873437"/>
                  </a:ext>
                </a:extLst>
              </a:tr>
              <a:tr h="10723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мероприятий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ичество в натуральных показателях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6971395"/>
                  </a:ext>
                </a:extLst>
              </a:tr>
              <a:tr h="2897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01614"/>
                  </a:ext>
                </a:extLst>
              </a:tr>
              <a:tr h="5462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6748120"/>
                  </a:ext>
                </a:extLst>
              </a:tr>
              <a:tr h="1416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6260419"/>
                  </a:ext>
                </a:extLst>
              </a:tr>
              <a:tr h="4383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о тепловой энергии. (г.Шымкент)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ПП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1-ступени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тлоагрега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ГМЕ-464 ст.№2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01.25-31.12.25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-59,4 млн.тенге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 641,59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3 642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ируется корректировка ИП 2025г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9 409,0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5839" marR="5839" marT="583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958993"/>
                  </a:ext>
                </a:extLst>
              </a:tr>
              <a:tr h="8200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обретение электродвигателя дутьевого вентилятора ТГМЕ-464 №3, тип: Эл.двигатель АОД-1600/1000-6,3-6/8У1. 1600/1000 кВт 1000/750 об/мин. 6300В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 277,15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9 277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ируется корректировк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П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2025г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1005092"/>
                  </a:ext>
                </a:extLst>
              </a:tr>
              <a:tr h="3546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газового тракта котлоагрегата№2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 003,78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873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869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смотрен объем рабо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8108751"/>
                  </a:ext>
                </a:extLst>
              </a:tr>
              <a:tr h="3546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воздушного тракта котлоагрегата№2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 090,06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 276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6 814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6829171"/>
                  </a:ext>
                </a:extLst>
              </a:tr>
              <a:tr h="3546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подогревателя сетевой воды вертикального 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 396,89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0 397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ируется корректировка ИП 2025г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650561"/>
                  </a:ext>
                </a:extLst>
              </a:tr>
              <a:tr h="253174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:</a:t>
                      </a:r>
                    </a:p>
                  </a:txBody>
                  <a:tcPr marL="5839" marR="5839" marT="58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9 409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 149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37 260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39" marR="5839" marT="583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39" marR="5839" marT="58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57978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208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483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4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</a:t>
            </a:r>
            <a:r>
              <a:rPr lang="ru-RU" dirty="0" smtClean="0"/>
              <a:t>утвержденной тарифной </a:t>
            </a:r>
            <a:r>
              <a:rPr lang="ru-RU" dirty="0"/>
              <a:t>сметы на регулируемую услугу по производству тепловой энергии по итогам 1 полугодия </a:t>
            </a:r>
            <a:r>
              <a:rPr lang="ru-RU" dirty="0" smtClean="0"/>
              <a:t>2025 </a:t>
            </a:r>
            <a:r>
              <a:rPr lang="ru-RU" dirty="0"/>
              <a:t>года </a:t>
            </a:r>
            <a:r>
              <a:rPr lang="ru-RU" sz="1000" dirty="0" smtClean="0"/>
              <a:t>(1 </a:t>
            </a:r>
            <a:r>
              <a:rPr lang="ru-RU" sz="1000" dirty="0"/>
              <a:t>из </a:t>
            </a:r>
            <a:r>
              <a:rPr lang="ru-RU" sz="1000" dirty="0" smtClean="0"/>
              <a:t>3)</a:t>
            </a:r>
            <a:endParaRPr lang="en-US" sz="10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9129846"/>
              </p:ext>
            </p:extLst>
          </p:nvPr>
        </p:nvGraphicFramePr>
        <p:xfrm>
          <a:off x="317500" y="895351"/>
          <a:ext cx="11531599" cy="5480377"/>
        </p:xfrm>
        <a:graphic>
          <a:graphicData uri="http://schemas.openxmlformats.org/drawingml/2006/table">
            <a:tbl>
              <a:tblPr/>
              <a:tblGrid>
                <a:gridCol w="514254">
                  <a:extLst>
                    <a:ext uri="{9D8B030D-6E8A-4147-A177-3AD203B41FA5}">
                      <a16:colId xmlns:a16="http://schemas.microsoft.com/office/drawing/2014/main" val="656364864"/>
                    </a:ext>
                  </a:extLst>
                </a:gridCol>
                <a:gridCol w="2481837">
                  <a:extLst>
                    <a:ext uri="{9D8B030D-6E8A-4147-A177-3AD203B41FA5}">
                      <a16:colId xmlns:a16="http://schemas.microsoft.com/office/drawing/2014/main" val="1902548915"/>
                    </a:ext>
                  </a:extLst>
                </a:gridCol>
                <a:gridCol w="905536">
                  <a:extLst>
                    <a:ext uri="{9D8B030D-6E8A-4147-A177-3AD203B41FA5}">
                      <a16:colId xmlns:a16="http://schemas.microsoft.com/office/drawing/2014/main" val="3582800629"/>
                    </a:ext>
                  </a:extLst>
                </a:gridCol>
                <a:gridCol w="1095586">
                  <a:extLst>
                    <a:ext uri="{9D8B030D-6E8A-4147-A177-3AD203B41FA5}">
                      <a16:colId xmlns:a16="http://schemas.microsoft.com/office/drawing/2014/main" val="1812192855"/>
                    </a:ext>
                  </a:extLst>
                </a:gridCol>
                <a:gridCol w="1299610">
                  <a:extLst>
                    <a:ext uri="{9D8B030D-6E8A-4147-A177-3AD203B41FA5}">
                      <a16:colId xmlns:a16="http://schemas.microsoft.com/office/drawing/2014/main" val="4268691090"/>
                    </a:ext>
                  </a:extLst>
                </a:gridCol>
                <a:gridCol w="1165457">
                  <a:extLst>
                    <a:ext uri="{9D8B030D-6E8A-4147-A177-3AD203B41FA5}">
                      <a16:colId xmlns:a16="http://schemas.microsoft.com/office/drawing/2014/main" val="1256061584"/>
                    </a:ext>
                  </a:extLst>
                </a:gridCol>
                <a:gridCol w="4069319">
                  <a:extLst>
                    <a:ext uri="{9D8B030D-6E8A-4147-A177-3AD203B41FA5}">
                      <a16:colId xmlns:a16="http://schemas.microsoft.com/office/drawing/2014/main" val="3381218914"/>
                    </a:ext>
                  </a:extLst>
                </a:gridCol>
              </a:tblGrid>
              <a:tr h="8159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5 год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5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ода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668103"/>
                  </a:ext>
                </a:extLst>
              </a:tr>
              <a:tr h="1679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Затраты    всего, в т.ч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360 162,9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031 891,7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9,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0162011"/>
                  </a:ext>
                </a:extLst>
              </a:tr>
              <a:tr h="1831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.затраты -всего, в т.ч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657 953,4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79 963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0,6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8841755"/>
                  </a:ext>
                </a:extLst>
              </a:tr>
              <a:tr h="329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опливо (газ)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535 466,4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67 644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2,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затраты за первое полугодие в соответствии с объемом производства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6731160"/>
                  </a:ext>
                </a:extLst>
              </a:tr>
              <a:tr h="2939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имреагенты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6 954,48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 389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,8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Фильтрующие матеры  засыпаны в 1 квартале. 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2767584"/>
                  </a:ext>
                </a:extLst>
              </a:tr>
              <a:tr h="1859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ода на технолог.цели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406,0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94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,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цены на воду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4101230"/>
                  </a:ext>
                </a:extLst>
              </a:tr>
              <a:tr h="2639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на ТО и эксплуатацию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490,03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928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,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8724919"/>
                  </a:ext>
                </a:extLst>
              </a:tr>
              <a:tr h="1799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36,5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57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5,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8819906"/>
                  </a:ext>
                </a:extLst>
              </a:tr>
              <a:tr h="2039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оплату труда, всего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1 910,2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2 100,7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4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7493580"/>
                  </a:ext>
                </a:extLst>
              </a:tr>
              <a:tr h="221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ППР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8 272,9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3 224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4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8290358"/>
                  </a:ext>
                </a:extLst>
              </a:tr>
              <a:tr h="2399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 489,03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 180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3,8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1308494"/>
                  </a:ext>
                </a:extLst>
              </a:tr>
              <a:tr h="2759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148,1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696,7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4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6373527"/>
                  </a:ext>
                </a:extLst>
              </a:tr>
              <a:tr h="1979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5 643,1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6 002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2,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7118414"/>
                  </a:ext>
                </a:extLst>
              </a:tr>
              <a:tr h="2039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мон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3 359,76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 89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0,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 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872192"/>
                  </a:ext>
                </a:extLst>
              </a:tr>
              <a:tr h="1679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 на рем.работы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 277,2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 977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9,6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983184"/>
                  </a:ext>
                </a:extLst>
              </a:tr>
              <a:tr h="1679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подрядных орг. по ремонту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 082,5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919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,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1810627"/>
                  </a:ext>
                </a:extLst>
              </a:tr>
              <a:tr h="196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затраты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 296,3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 930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5,8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4425410"/>
                  </a:ext>
                </a:extLst>
              </a:tr>
              <a:tr h="2819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торонних организаци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179,5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59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3,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3975480"/>
                  </a:ext>
                </a:extLst>
              </a:tr>
              <a:tr h="2099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561,4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473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4,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8017641"/>
                  </a:ext>
                </a:extLst>
              </a:tr>
              <a:tr h="215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ахование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0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450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9,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418823"/>
                  </a:ext>
                </a:extLst>
              </a:tr>
              <a:tr h="2759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и  ТБ (спец.одежда, мыло,молоко)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849,4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11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9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33185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22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082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9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Информация о постатейном исполнении утвержденной тарифной сметы на </a:t>
            </a:r>
            <a:r>
              <a:rPr lang="ru-RU" dirty="0"/>
              <a:t>регулируемую услугу по производству тепловой энергии </a:t>
            </a:r>
            <a:r>
              <a:rPr lang="ru-RU" dirty="0" smtClean="0"/>
              <a:t>по итогам 1 полугодия 2025 года </a:t>
            </a:r>
            <a:r>
              <a:rPr lang="ru-RU" sz="1000" dirty="0" smtClean="0"/>
              <a:t>(2 </a:t>
            </a:r>
            <a:r>
              <a:rPr lang="ru-RU" sz="1000" dirty="0"/>
              <a:t>из 3)</a:t>
            </a:r>
            <a:endParaRPr lang="en-US" sz="10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9226996"/>
              </p:ext>
            </p:extLst>
          </p:nvPr>
        </p:nvGraphicFramePr>
        <p:xfrm>
          <a:off x="247650" y="923925"/>
          <a:ext cx="11839576" cy="5533138"/>
        </p:xfrm>
        <a:graphic>
          <a:graphicData uri="http://schemas.openxmlformats.org/drawingml/2006/table">
            <a:tbl>
              <a:tblPr/>
              <a:tblGrid>
                <a:gridCol w="527990">
                  <a:extLst>
                    <a:ext uri="{9D8B030D-6E8A-4147-A177-3AD203B41FA5}">
                      <a16:colId xmlns:a16="http://schemas.microsoft.com/office/drawing/2014/main" val="511203812"/>
                    </a:ext>
                  </a:extLst>
                </a:gridCol>
                <a:gridCol w="2548121">
                  <a:extLst>
                    <a:ext uri="{9D8B030D-6E8A-4147-A177-3AD203B41FA5}">
                      <a16:colId xmlns:a16="http://schemas.microsoft.com/office/drawing/2014/main" val="292447575"/>
                    </a:ext>
                  </a:extLst>
                </a:gridCol>
                <a:gridCol w="929720">
                  <a:extLst>
                    <a:ext uri="{9D8B030D-6E8A-4147-A177-3AD203B41FA5}">
                      <a16:colId xmlns:a16="http://schemas.microsoft.com/office/drawing/2014/main" val="3076829070"/>
                    </a:ext>
                  </a:extLst>
                </a:gridCol>
                <a:gridCol w="1124846">
                  <a:extLst>
                    <a:ext uri="{9D8B030D-6E8A-4147-A177-3AD203B41FA5}">
                      <a16:colId xmlns:a16="http://schemas.microsoft.com/office/drawing/2014/main" val="2071203953"/>
                    </a:ext>
                  </a:extLst>
                </a:gridCol>
                <a:gridCol w="1334319">
                  <a:extLst>
                    <a:ext uri="{9D8B030D-6E8A-4147-A177-3AD203B41FA5}">
                      <a16:colId xmlns:a16="http://schemas.microsoft.com/office/drawing/2014/main" val="608508257"/>
                    </a:ext>
                  </a:extLst>
                </a:gridCol>
                <a:gridCol w="1196583">
                  <a:extLst>
                    <a:ext uri="{9D8B030D-6E8A-4147-A177-3AD203B41FA5}">
                      <a16:colId xmlns:a16="http://schemas.microsoft.com/office/drawing/2014/main" val="2263540308"/>
                    </a:ext>
                  </a:extLst>
                </a:gridCol>
                <a:gridCol w="4177997">
                  <a:extLst>
                    <a:ext uri="{9D8B030D-6E8A-4147-A177-3AD203B41FA5}">
                      <a16:colId xmlns:a16="http://schemas.microsoft.com/office/drawing/2014/main" val="1370597784"/>
                    </a:ext>
                  </a:extLst>
                </a:gridCol>
              </a:tblGrid>
              <a:tr h="8600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5 год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5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ода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3481994"/>
                  </a:ext>
                </a:extLst>
              </a:tr>
              <a:tr h="34780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ЕРИОДА всего,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т.ч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9 484,26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6 161,4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3,6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8576365"/>
                  </a:ext>
                </a:extLst>
              </a:tr>
              <a:tr h="360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ие и административные расходы всего, в т.ч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9 484,26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6 161,4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3,6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9478955"/>
                  </a:ext>
                </a:extLst>
              </a:tr>
              <a:tr h="1580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1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 АУП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622,56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181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8729603"/>
                  </a:ext>
                </a:extLst>
              </a:tr>
              <a:tr h="2086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2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34,63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69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9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9147370"/>
                  </a:ext>
                </a:extLst>
              </a:tr>
              <a:tr h="3541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3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8,68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85,4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4344437"/>
                  </a:ext>
                </a:extLst>
              </a:tr>
              <a:tr h="328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4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, всего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1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6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по налогу на имущество. Увеличение стоимости ОС за счет капитальных ремонтов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154748"/>
                  </a:ext>
                </a:extLst>
              </a:tr>
              <a:tr h="1833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 расходы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 967,39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 223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8,8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8418440"/>
                  </a:ext>
                </a:extLst>
              </a:tr>
              <a:tr h="2908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66,3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027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9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амортизационных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за счет увеличения стоимости ОС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4831908"/>
                  </a:ext>
                </a:extLst>
              </a:tr>
              <a:tr h="2023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2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 для легкового транспорта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0,61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1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4,5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3967177"/>
                  </a:ext>
                </a:extLst>
              </a:tr>
              <a:tr h="2086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3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нцтовары и пр. 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28,5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4,9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  сокращением объемов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14570"/>
                  </a:ext>
                </a:extLst>
              </a:tr>
              <a:tr h="2023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4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андировочные расходы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3,53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9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9,8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енная необходимость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6907832"/>
                  </a:ext>
                </a:extLst>
              </a:tr>
              <a:tr h="1580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5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вязи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54,7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3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0,6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31056"/>
                  </a:ext>
                </a:extLst>
              </a:tr>
              <a:tr h="2023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6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о страхованию </a:t>
                      </a:r>
                    </a:p>
                  </a:txBody>
                  <a:tcPr marL="46346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9,9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3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5,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роцента отнесения затрат на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плоэнергию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2561725"/>
                  </a:ext>
                </a:extLst>
              </a:tr>
              <a:tr h="328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7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общего характера сторонних организаций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 667,8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 633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4,5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7849051"/>
                  </a:ext>
                </a:extLst>
              </a:tr>
              <a:tr h="1960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8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развитие персонала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60,46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первом полугодии обучение проводилось внутри группы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6022333"/>
                  </a:ext>
                </a:extLst>
              </a:tr>
              <a:tr h="2908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9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 и ТБ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5,9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91,1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  сокращением объемов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5447610"/>
                  </a:ext>
                </a:extLst>
              </a:tr>
              <a:tr h="2086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0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ическая печать 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,54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1,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6145987"/>
                  </a:ext>
                </a:extLst>
              </a:tr>
              <a:tr h="2529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1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  воды  на ХН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05,00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1,0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3,6</a:t>
                      </a:r>
                    </a:p>
                  </a:txBody>
                  <a:tcPr marL="5150" marR="5150" marT="51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затраты за первое полугодие в соответствии с объемом производства.</a:t>
                      </a:r>
                    </a:p>
                  </a:txBody>
                  <a:tcPr marL="5150" marR="5150" marT="51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4628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5351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6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</a:t>
            </a:r>
            <a:r>
              <a:rPr lang="ru-RU" dirty="0" smtClean="0"/>
              <a:t>утвержденной тарифной </a:t>
            </a:r>
            <a:r>
              <a:rPr lang="ru-RU" dirty="0"/>
              <a:t>сметы на регулируемую услугу по производству тепловой энергии по итогам 1 полугодия </a:t>
            </a:r>
            <a:r>
              <a:rPr lang="ru-RU" dirty="0" smtClean="0"/>
              <a:t>2025 </a:t>
            </a:r>
            <a:r>
              <a:rPr lang="ru-RU" dirty="0"/>
              <a:t>года </a:t>
            </a:r>
            <a:r>
              <a:rPr lang="ru-RU" sz="1000" dirty="0" smtClean="0"/>
              <a:t>(3 </a:t>
            </a:r>
            <a:r>
              <a:rPr lang="ru-RU" sz="1000" dirty="0"/>
              <a:t>из </a:t>
            </a:r>
            <a:r>
              <a:rPr lang="ru-RU" sz="1000" dirty="0" smtClean="0"/>
              <a:t>3)</a:t>
            </a:r>
            <a:endParaRPr lang="en-US" sz="10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8440245"/>
              </p:ext>
            </p:extLst>
          </p:nvPr>
        </p:nvGraphicFramePr>
        <p:xfrm>
          <a:off x="219075" y="819148"/>
          <a:ext cx="11696699" cy="5361481"/>
        </p:xfrm>
        <a:graphic>
          <a:graphicData uri="http://schemas.openxmlformats.org/drawingml/2006/table">
            <a:tbl>
              <a:tblPr/>
              <a:tblGrid>
                <a:gridCol w="521618">
                  <a:extLst>
                    <a:ext uri="{9D8B030D-6E8A-4147-A177-3AD203B41FA5}">
                      <a16:colId xmlns:a16="http://schemas.microsoft.com/office/drawing/2014/main" val="3619484183"/>
                    </a:ext>
                  </a:extLst>
                </a:gridCol>
                <a:gridCol w="2517370">
                  <a:extLst>
                    <a:ext uri="{9D8B030D-6E8A-4147-A177-3AD203B41FA5}">
                      <a16:colId xmlns:a16="http://schemas.microsoft.com/office/drawing/2014/main" val="4130548022"/>
                    </a:ext>
                  </a:extLst>
                </a:gridCol>
                <a:gridCol w="918500">
                  <a:extLst>
                    <a:ext uri="{9D8B030D-6E8A-4147-A177-3AD203B41FA5}">
                      <a16:colId xmlns:a16="http://schemas.microsoft.com/office/drawing/2014/main" val="1823109583"/>
                    </a:ext>
                  </a:extLst>
                </a:gridCol>
                <a:gridCol w="1111271">
                  <a:extLst>
                    <a:ext uri="{9D8B030D-6E8A-4147-A177-3AD203B41FA5}">
                      <a16:colId xmlns:a16="http://schemas.microsoft.com/office/drawing/2014/main" val="3432111026"/>
                    </a:ext>
                  </a:extLst>
                </a:gridCol>
                <a:gridCol w="1318218">
                  <a:extLst>
                    <a:ext uri="{9D8B030D-6E8A-4147-A177-3AD203B41FA5}">
                      <a16:colId xmlns:a16="http://schemas.microsoft.com/office/drawing/2014/main" val="1509499851"/>
                    </a:ext>
                  </a:extLst>
                </a:gridCol>
                <a:gridCol w="1182142">
                  <a:extLst>
                    <a:ext uri="{9D8B030D-6E8A-4147-A177-3AD203B41FA5}">
                      <a16:colId xmlns:a16="http://schemas.microsoft.com/office/drawing/2014/main" val="2204914528"/>
                    </a:ext>
                  </a:extLst>
                </a:gridCol>
                <a:gridCol w="4127580">
                  <a:extLst>
                    <a:ext uri="{9D8B030D-6E8A-4147-A177-3AD203B41FA5}">
                      <a16:colId xmlns:a16="http://schemas.microsoft.com/office/drawing/2014/main" val="66844133"/>
                    </a:ext>
                  </a:extLst>
                </a:gridCol>
              </a:tblGrid>
              <a:tr h="11107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5 год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2025 года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8170760"/>
                  </a:ext>
                </a:extLst>
              </a:tr>
              <a:tr h="34303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I.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ЗАТРАТ 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29 647,2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078 053,2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9,4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2898509"/>
                  </a:ext>
                </a:extLst>
              </a:tr>
              <a:tr h="2613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V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  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9 425,7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4849675"/>
                  </a:ext>
                </a:extLst>
              </a:tr>
              <a:tr h="4492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ДОХОДОВ, всего в том числе: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29 647,2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018 627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1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0335864"/>
                  </a:ext>
                </a:extLst>
              </a:tr>
              <a:tr h="3103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- Тепловая энергия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25 821,6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016 824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1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3036476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825,57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03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2,9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419555"/>
                  </a:ext>
                </a:extLst>
              </a:tr>
              <a:tr h="24121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 УСЛУГ  ВСЕГО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5 280,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0 371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1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388"/>
                  </a:ext>
                </a:extLst>
              </a:tr>
              <a:tr h="1960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2116813"/>
                  </a:ext>
                </a:extLst>
              </a:tr>
              <a:tr h="3593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4 616,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0 058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1,1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тепловой энергии по заявкам потребителя 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5302245"/>
                  </a:ext>
                </a:extLst>
              </a:tr>
              <a:tr h="4002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,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3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2,9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пара по заявкам потребителя 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8204569"/>
                  </a:ext>
                </a:extLst>
              </a:tr>
              <a:tr h="3838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I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еднеотпускной ТАРИФ, без НДС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8891462"/>
                  </a:ext>
                </a:extLst>
              </a:tr>
              <a:tr h="2613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328920"/>
                  </a:ext>
                </a:extLst>
              </a:tr>
              <a:tr h="2613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8643777"/>
                  </a:ext>
                </a:extLst>
              </a:tr>
              <a:tr h="4002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61,40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640" marR="6640" marT="66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640" marR="6640" marT="664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7164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746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92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4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0" y="0"/>
            <a:ext cx="9605964" cy="770021"/>
          </a:xfrm>
        </p:spPr>
        <p:txBody>
          <a:bodyPr vert="horz"/>
          <a:lstStyle/>
          <a:p>
            <a:r>
              <a:rPr lang="ru-RU" dirty="0" smtClean="0"/>
              <a:t>Информация о </a:t>
            </a:r>
            <a:r>
              <a:rPr lang="ru-RU" dirty="0"/>
              <a:t>соблюдении показателей качества и надежности регулируемых услуг и достижении показателей эффективности деятельности по итогам 1 полугодия </a:t>
            </a:r>
            <a:r>
              <a:rPr lang="ru-RU" dirty="0" smtClean="0"/>
              <a:t>2025года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20570" y="940757"/>
            <a:ext cx="11194474" cy="945194"/>
          </a:xfrm>
        </p:spPr>
        <p:txBody>
          <a:bodyPr/>
          <a:lstStyle/>
          <a:p>
            <a:pPr algn="just"/>
            <a:r>
              <a:rPr lang="ru-RU" sz="14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ля АО </a:t>
            </a:r>
            <a:r>
              <a:rPr lang="ru-RU" sz="1400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«3-Энергоортплык» </a:t>
            </a:r>
            <a:r>
              <a:rPr lang="ru-RU" sz="14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казатели качества и надежности регулируемых услуг и достижении показателей эффективности деятельности предприятия </a:t>
            </a:r>
            <a:r>
              <a:rPr lang="ru-RU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разрабатывались и не утверждались.</a:t>
            </a:r>
          </a:p>
          <a:p>
            <a:pPr algn="just"/>
            <a:r>
              <a:rPr lang="ru-RU" sz="1400" dirty="0" smtClean="0">
                <a:solidFill>
                  <a:prstClr val="black"/>
                </a:solidFill>
              </a:rPr>
              <a:t>Оценка </a:t>
            </a:r>
            <a:r>
              <a:rPr lang="ru-RU" sz="1400" dirty="0">
                <a:solidFill>
                  <a:prstClr val="black"/>
                </a:solidFill>
              </a:rPr>
              <a:t>достижения показателей будет осуществлена по результатам выполнения мероприятий, предусмотренных в утвержденной инвестиционной программе, по итогам </a:t>
            </a:r>
            <a:r>
              <a:rPr lang="ru-RU" sz="1400" dirty="0" smtClean="0">
                <a:solidFill>
                  <a:prstClr val="black"/>
                </a:solidFill>
              </a:rPr>
              <a:t>2025 </a:t>
            </a:r>
            <a:r>
              <a:rPr lang="ru-RU" sz="1400" dirty="0">
                <a:solidFill>
                  <a:prstClr val="black"/>
                </a:solidFill>
              </a:rPr>
              <a:t>года</a:t>
            </a:r>
            <a:r>
              <a:rPr lang="ru-RU" sz="1400" dirty="0" smtClean="0">
                <a:solidFill>
                  <a:prstClr val="black"/>
                </a:solidFill>
              </a:rPr>
              <a:t>.</a:t>
            </a:r>
            <a:endParaRPr lang="en-US" sz="1400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435721"/>
              </p:ext>
            </p:extLst>
          </p:nvPr>
        </p:nvGraphicFramePr>
        <p:xfrm>
          <a:off x="395146" y="1906442"/>
          <a:ext cx="11441255" cy="1960708"/>
        </p:xfrm>
        <a:graphic>
          <a:graphicData uri="http://schemas.openxmlformats.org/drawingml/2006/table">
            <a:tbl>
              <a:tblPr/>
              <a:tblGrid>
                <a:gridCol w="414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9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99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38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384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986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качества и надежности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вое полугодие 2025 го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соблюдения показателей надежности и качеств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несоблюдения показателей надежности и качеств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52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знос производственных 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сновных средств,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жидается по итогам выполнения мероприятий в конце год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33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варийность, 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111011"/>
                  </a:ext>
                </a:extLst>
              </a:tr>
            </a:tbl>
          </a:graphicData>
        </a:graphic>
      </p:graphicFrame>
      <p:grpSp>
        <p:nvGrpSpPr>
          <p:cNvPr id="8" name="Group 488"/>
          <p:cNvGrpSpPr/>
          <p:nvPr/>
        </p:nvGrpSpPr>
        <p:grpSpPr>
          <a:xfrm>
            <a:off x="203058" y="889956"/>
            <a:ext cx="371475" cy="371475"/>
            <a:chOff x="-2103438" y="3878264"/>
            <a:chExt cx="371475" cy="371475"/>
          </a:xfrm>
        </p:grpSpPr>
        <p:sp>
          <p:nvSpPr>
            <p:cNvPr id="9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Rectangle 133"/>
          <p:cNvSpPr>
            <a:spLocks noChangeArrowheads="1"/>
          </p:cNvSpPr>
          <p:nvPr/>
        </p:nvSpPr>
        <p:spPr bwMode="auto">
          <a:xfrm>
            <a:off x="1847850" y="2703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4201838"/>
              </p:ext>
            </p:extLst>
          </p:nvPr>
        </p:nvGraphicFramePr>
        <p:xfrm>
          <a:off x="395146" y="3990021"/>
          <a:ext cx="11441255" cy="2110113"/>
        </p:xfrm>
        <a:graphic>
          <a:graphicData uri="http://schemas.openxmlformats.org/drawingml/2006/table">
            <a:tbl>
              <a:tblPr/>
              <a:tblGrid>
                <a:gridCol w="414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9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2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38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384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058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ффективност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вого полугодия 2025го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жения показателей эффективност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</a:t>
                      </a:r>
                      <a:r>
                        <a:rPr lang="ru-RU" sz="12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достижения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казателей 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ффективност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19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жидается по итогам выполнения мероприятий в конце год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я износа основных средств, 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95876"/>
                  </a:ext>
                </a:extLst>
              </a:tr>
              <a:tr h="461883"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4119698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е аварийности, 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0146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782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0134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17" name="Слайд think-cell" r:id="rId33" imgW="594" imgH="595" progId="TCLayout.ActiveDocument.1">
                  <p:embed/>
                </p:oleObj>
              </mc:Choice>
              <mc:Fallback>
                <p:oleObj name="Слайд think-cell" r:id="rId33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203" y="115409"/>
            <a:ext cx="10178542" cy="704850"/>
          </a:xfrm>
        </p:spPr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б основных финансово - экономических показателях</a:t>
            </a:r>
            <a:r>
              <a:rPr lang="en-US" dirty="0" smtClean="0">
                <a:solidFill>
                  <a:srgbClr val="DB700F"/>
                </a:solidFill>
              </a:rPr>
              <a:t> </a:t>
            </a:r>
            <a:r>
              <a:rPr lang="ru-RU" dirty="0" smtClean="0">
                <a:solidFill>
                  <a:srgbClr val="DB700F"/>
                </a:solidFill>
              </a:rPr>
              <a:t>по </a:t>
            </a:r>
            <a:r>
              <a:rPr lang="ru-RU" dirty="0">
                <a:solidFill>
                  <a:srgbClr val="DB700F"/>
                </a:solidFill>
              </a:rPr>
              <a:t>услуге производство тепловой </a:t>
            </a:r>
            <a:r>
              <a:rPr lang="ru-RU" dirty="0" smtClean="0">
                <a:solidFill>
                  <a:srgbClr val="DB700F"/>
                </a:solidFill>
              </a:rPr>
              <a:t>энергии и </a:t>
            </a:r>
            <a:r>
              <a:rPr lang="ru-RU" dirty="0">
                <a:solidFill>
                  <a:srgbClr val="DB700F"/>
                </a:solidFill>
              </a:rPr>
              <a:t>об объемах предоставленных регулируемых услуг </a:t>
            </a:r>
            <a:r>
              <a:rPr lang="ru-RU" dirty="0" smtClean="0">
                <a:solidFill>
                  <a:srgbClr val="DB700F"/>
                </a:solidFill>
              </a:rPr>
              <a:t> </a:t>
            </a:r>
            <a:br>
              <a:rPr lang="ru-RU" dirty="0" smtClean="0">
                <a:solidFill>
                  <a:srgbClr val="DB700F"/>
                </a:solidFill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6659000"/>
              </p:ext>
            </p:extLst>
          </p:nvPr>
        </p:nvGraphicFramePr>
        <p:xfrm>
          <a:off x="539750" y="2359025"/>
          <a:ext cx="2643188" cy="2436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62" name="Прямоугольник 61"/>
          <p:cNvSpPr/>
          <p:nvPr>
            <p:custDataLst>
              <p:tags r:id="rId4"/>
            </p:custDataLst>
          </p:nvPr>
        </p:nvSpPr>
        <p:spPr bwMode="auto">
          <a:xfrm>
            <a:off x="1379538" y="4629151"/>
            <a:ext cx="373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1C2339-F842-4C28-B446-DD5D2089B96F}" type="datetime'Д''''о''ход'','''' млн''.'' ''т''''''''''е''''''''н''г''''е '">
              <a:rPr lang="ru-RU" altLang="en-US" sz="900" smtClean="0">
                <a:solidFill>
                  <a:schemeClr val="tx1"/>
                </a:solidFill>
              </a:rPr>
              <a:pPr/>
              <a:t>Доход, млн. тенге 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5"/>
            </p:custDataLst>
          </p:nvPr>
        </p:nvSpPr>
        <p:spPr bwMode="auto">
          <a:xfrm>
            <a:off x="1871663" y="4629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B0F414-B618-4048-B95F-AE22BAA411A8}" type="datetime'зат''рат''''ы'', м''''''''л''''н''''''''.'''' ''т''е''нге'">
              <a:rPr lang="ru-RU" altLang="en-US" sz="900" smtClean="0">
                <a:solidFill>
                  <a:schemeClr val="tx1"/>
                </a:solidFill>
              </a:rPr>
              <a:pPr/>
              <a:t>затраты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2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75933026"/>
              </p:ext>
            </p:extLst>
          </p:nvPr>
        </p:nvGraphicFramePr>
        <p:xfrm>
          <a:off x="-577850" y="1927225"/>
          <a:ext cx="2801938" cy="286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1" name="Прямоугольник 10"/>
          <p:cNvSpPr/>
          <p:nvPr>
            <p:custDataLst>
              <p:tags r:id="rId7"/>
            </p:custDataLst>
          </p:nvPr>
        </p:nvSpPr>
        <p:spPr bwMode="gray">
          <a:xfrm>
            <a:off x="711200" y="4527551"/>
            <a:ext cx="222250" cy="1238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946AC03-4377-4648-BEB6-11394905CB61}" type="datetime'''''''''''''''''3''''''1''''''''''3'''''''''">
              <a:rPr lang="ru-RU" altLang="en-US" sz="900" smtClean="0">
                <a:solidFill>
                  <a:schemeClr val="bg1"/>
                </a:solidFill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13</a:t>
            </a:fld>
            <a:endParaRPr lang="ru-RU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>
            <p:custDataLst>
              <p:tags r:id="rId8"/>
            </p:custDataLst>
          </p:nvPr>
        </p:nvSpPr>
        <p:spPr bwMode="auto">
          <a:xfrm>
            <a:off x="457200" y="4689475"/>
            <a:ext cx="731838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B9FA04-D5C2-4B3D-8964-EAEF94709E6D}" type="datetime'''об''''ъем ''''о''казыва''е''мых'''' ''усл''уг'','' Гка''''л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объем оказываемых услуг, 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9"/>
            </p:custDataLst>
          </p:nvPr>
        </p:nvSpPr>
        <p:spPr bwMode="gray">
          <a:xfrm>
            <a:off x="600075" y="1982789"/>
            <a:ext cx="444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3B1E109-460A-4D63-9C19-AE0FF5CD515D}" type="datetime'''''''''''3''''''''5''0 ''''''''''''''37''''1''''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0 371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44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89465578"/>
              </p:ext>
            </p:extLst>
          </p:nvPr>
        </p:nvGraphicFramePr>
        <p:xfrm>
          <a:off x="2035175" y="3232150"/>
          <a:ext cx="2960688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82" name="Прямоугольник 81"/>
          <p:cNvSpPr/>
          <p:nvPr>
            <p:custDataLst>
              <p:tags r:id="rId11"/>
            </p:custDataLst>
          </p:nvPr>
        </p:nvSpPr>
        <p:spPr bwMode="auto">
          <a:xfrm>
            <a:off x="3094038" y="4629150"/>
            <a:ext cx="84296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D6B086-B519-41DE-B9B3-A7ED7A4F8509}" type="datetime'''''се''бе''ст''''''''о''имо''ст''''ь, ''те''''нг''е/Гка''л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ебестоимость, тенге/Гкал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41" name="Chart 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41408464"/>
              </p:ext>
            </p:extLst>
          </p:nvPr>
        </p:nvGraphicFramePr>
        <p:xfrm>
          <a:off x="1897063" y="3119438"/>
          <a:ext cx="1849437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78" name="Прямоугольник 77"/>
          <p:cNvSpPr/>
          <p:nvPr>
            <p:custDataLst>
              <p:tags r:id="rId13"/>
            </p:custDataLst>
          </p:nvPr>
        </p:nvSpPr>
        <p:spPr bwMode="auto">
          <a:xfrm>
            <a:off x="2535238" y="4629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1D3699A-0920-4D58-BBCF-0B1F4397E4AB}" type="datetime'у''б''ы''т''''''о''''''''''к,'''' ''''м''''лн''''. т''ен''ге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убыток, млн. тенг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119"/>
          <p:cNvSpPr/>
          <p:nvPr/>
        </p:nvSpPr>
        <p:spPr>
          <a:xfrm>
            <a:off x="-1587" y="5836869"/>
            <a:ext cx="12192000" cy="462331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й тариф </a:t>
            </a:r>
            <a:r>
              <a:rPr lang="ru-RU" dirty="0"/>
              <a:t>не </a:t>
            </a:r>
            <a:r>
              <a:rPr lang="ru-RU" dirty="0" smtClean="0"/>
              <a:t>компенсируе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pic>
        <p:nvPicPr>
          <p:cNvPr id="111" name="Рисунок 110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10632817" y="760502"/>
            <a:ext cx="1534191" cy="2358935"/>
          </a:xfrm>
          <a:prstGeom prst="rect">
            <a:avLst/>
          </a:prstGeom>
        </p:spPr>
      </p:pic>
      <p:sp>
        <p:nvSpPr>
          <p:cNvPr id="29" name="Freeform 140"/>
          <p:cNvSpPr/>
          <p:nvPr/>
        </p:nvSpPr>
        <p:spPr>
          <a:xfrm>
            <a:off x="323203" y="1340213"/>
            <a:ext cx="5723586" cy="3838212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400" dirty="0" smtClean="0">
                <a:solidFill>
                  <a:schemeClr val="accent1"/>
                </a:solidFill>
              </a:rPr>
              <a:t>Основные финансово-экономические показатели за  первое полугодие 2025 года </a:t>
            </a:r>
            <a:endParaRPr lang="da-DK" sz="1400" dirty="0">
              <a:solidFill>
                <a:schemeClr val="accent1"/>
              </a:solidFill>
            </a:endParaRPr>
          </a:p>
        </p:txBody>
      </p:sp>
      <p:sp>
        <p:nvSpPr>
          <p:cNvPr id="30" name="Freeform 140"/>
          <p:cNvSpPr/>
          <p:nvPr/>
        </p:nvSpPr>
        <p:spPr>
          <a:xfrm>
            <a:off x="6320735" y="1340213"/>
            <a:ext cx="4948156" cy="3838212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Объемы </a:t>
            </a:r>
            <a:r>
              <a:rPr lang="ru-RU" sz="1200" dirty="0">
                <a:solidFill>
                  <a:schemeClr val="accent1"/>
                </a:solidFill>
              </a:rPr>
              <a:t>предоставленных регулируемых </a:t>
            </a:r>
            <a:r>
              <a:rPr lang="ru-RU" sz="1200" dirty="0" smtClean="0">
                <a:solidFill>
                  <a:schemeClr val="accent1"/>
                </a:solidFill>
              </a:rPr>
              <a:t>услуг за первое полугодие  2025 года , Гкал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51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72647764"/>
              </p:ext>
            </p:extLst>
          </p:nvPr>
        </p:nvGraphicFramePr>
        <p:xfrm>
          <a:off x="2862263" y="3302000"/>
          <a:ext cx="2643187" cy="149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8" name="Прямоугольник 7"/>
          <p:cNvSpPr/>
          <p:nvPr>
            <p:custDataLst>
              <p:tags r:id="rId15"/>
            </p:custDataLst>
          </p:nvPr>
        </p:nvSpPr>
        <p:spPr bwMode="auto">
          <a:xfrm>
            <a:off x="3954463" y="4629150"/>
            <a:ext cx="457200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9D61469-E4A0-4137-AEBD-E14F13D5A32C}" type="datetime'''''с ''''''''''''''''''01''''''.''''''0''''''1.''''25''''''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 01.01.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44" name="Прямоугольник 143"/>
          <p:cNvSpPr/>
          <p:nvPr>
            <p:custDataLst>
              <p:tags r:id="rId16"/>
            </p:custDataLst>
          </p:nvPr>
        </p:nvSpPr>
        <p:spPr bwMode="auto">
          <a:xfrm>
            <a:off x="369888" y="5314950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5" name="Прямоугольник 144"/>
          <p:cNvSpPr/>
          <p:nvPr>
            <p:custDataLst>
              <p:tags r:id="rId17"/>
            </p:custDataLst>
          </p:nvPr>
        </p:nvSpPr>
        <p:spPr bwMode="auto">
          <a:xfrm>
            <a:off x="369888" y="5502275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18"/>
            </p:custDataLst>
          </p:nvPr>
        </p:nvSpPr>
        <p:spPr bwMode="auto">
          <a:xfrm>
            <a:off x="581025" y="5311775"/>
            <a:ext cx="34448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E4C839-6C0A-4097-AA02-C753E48430FD}" type="datetime'''''''''в'''' ''''''п''''''''''а''''р''''''е''''''''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в пар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19"/>
            </p:custDataLst>
          </p:nvPr>
        </p:nvSpPr>
        <p:spPr bwMode="auto">
          <a:xfrm>
            <a:off x="581025" y="5499100"/>
            <a:ext cx="7953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5C3E680-292E-47F6-98E4-D6D3EC1F0177}" type="datetime'в'''''' ''''''г''ор''я''''че''''й'''''' ''''''во''д''е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в горячей вод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20"/>
            </p:custDataLst>
          </p:nvPr>
        </p:nvSpPr>
        <p:spPr bwMode="auto">
          <a:xfrm>
            <a:off x="4025899" y="5292725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8" name="Прямоугольник 147"/>
          <p:cNvSpPr/>
          <p:nvPr>
            <p:custDataLst>
              <p:tags r:id="rId21"/>
            </p:custDataLst>
          </p:nvPr>
        </p:nvSpPr>
        <p:spPr bwMode="auto">
          <a:xfrm>
            <a:off x="4237038" y="5289550"/>
            <a:ext cx="9588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8411449-4FBC-4C19-B5ED-946697F5A07F}" type="datetime'т''''ари''ф'''''', т''е''''нге''''''/Г''''''''''к''а''''''''л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тариф, 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55" name="Chart 3"/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507566098"/>
              </p:ext>
            </p:extLst>
          </p:nvPr>
        </p:nvGraphicFramePr>
        <p:xfrm>
          <a:off x="6561138" y="1836738"/>
          <a:ext cx="2906712" cy="3011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6" name="Прямоугольник 15"/>
          <p:cNvSpPr/>
          <p:nvPr>
            <p:custDataLst>
              <p:tags r:id="rId23"/>
            </p:custDataLst>
          </p:nvPr>
        </p:nvSpPr>
        <p:spPr bwMode="gray">
          <a:xfrm>
            <a:off x="8948738" y="4492626"/>
            <a:ext cx="22225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EC2ADBB-718E-4701-A34F-D81E092B7043}" type="datetime'3''''1''''''''''''''''''''3'''''''''''''''''''''''''''''''''''">
              <a:rPr lang="ru-RU" altLang="en-US" sz="9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13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24"/>
            </p:custDataLst>
          </p:nvPr>
        </p:nvSpPr>
        <p:spPr bwMode="auto">
          <a:xfrm>
            <a:off x="6884988" y="4681538"/>
            <a:ext cx="8874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A31CD2-E908-4862-9D70-72C639560409}" type="datetime'учте''''н''''''о в ''т''ари''''ф''''но''''й см''ет''''е''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учтено в тарифной смет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25"/>
            </p:custDataLst>
          </p:nvPr>
        </p:nvSpPr>
        <p:spPr bwMode="auto">
          <a:xfrm>
            <a:off x="8123238" y="4681539"/>
            <a:ext cx="11525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FCD4E8-763A-4ABC-89FA-FC5DD0696B0D}" type="datetime'ф''а''к''т ''6'' ''''м''''е''с 2025'' го''''''д''а'''''''''">
              <a:rPr lang="ru-RU" altLang="en-US" sz="9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факт 6 мес 2025 года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1" name="Прямоугольник 160"/>
          <p:cNvSpPr/>
          <p:nvPr>
            <p:custDataLst>
              <p:tags r:id="rId26"/>
            </p:custDataLst>
          </p:nvPr>
        </p:nvSpPr>
        <p:spPr bwMode="auto">
          <a:xfrm>
            <a:off x="9431338" y="3463925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2" name="Прямоугольник 161"/>
          <p:cNvSpPr/>
          <p:nvPr>
            <p:custDataLst>
              <p:tags r:id="rId27"/>
            </p:custDataLst>
          </p:nvPr>
        </p:nvSpPr>
        <p:spPr bwMode="auto">
          <a:xfrm>
            <a:off x="9431338" y="3651250"/>
            <a:ext cx="160338" cy="120650"/>
          </a:xfrm>
          <a:prstGeom prst="rect">
            <a:avLst/>
          </a:prstGeom>
          <a:solidFill>
            <a:srgbClr val="96969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3" name="Прямоугольник 162"/>
          <p:cNvSpPr/>
          <p:nvPr>
            <p:custDataLst>
              <p:tags r:id="rId28"/>
            </p:custDataLst>
          </p:nvPr>
        </p:nvSpPr>
        <p:spPr bwMode="auto">
          <a:xfrm>
            <a:off x="9431338" y="3838575"/>
            <a:ext cx="160338" cy="120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4" name="Прямоугольник 163"/>
          <p:cNvSpPr/>
          <p:nvPr>
            <p:custDataLst>
              <p:tags r:id="rId29"/>
            </p:custDataLst>
          </p:nvPr>
        </p:nvSpPr>
        <p:spPr bwMode="auto">
          <a:xfrm>
            <a:off x="9642475" y="3460750"/>
            <a:ext cx="20224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E32B484-303D-46B0-A987-DDFD7C84FE07}" type="datetime'''в''с''ег''о о''бъ''ем ока''з''ывае''мых ''''услуг, в'' т.ч'">
              <a:rPr lang="ru-RU" altLang="en-US" sz="900" smtClean="0">
                <a:solidFill>
                  <a:schemeClr val="tx1"/>
                </a:solidFill>
              </a:rPr>
              <a:pPr/>
              <a:t>всего объем оказываемых услуг, в т.ч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5" name="Прямоугольник 164"/>
          <p:cNvSpPr/>
          <p:nvPr>
            <p:custDataLst>
              <p:tags r:id="rId30"/>
            </p:custDataLst>
          </p:nvPr>
        </p:nvSpPr>
        <p:spPr bwMode="auto">
          <a:xfrm>
            <a:off x="9642475" y="3648075"/>
            <a:ext cx="23399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48B13EA-0E6E-4ABF-82A7-4F67D93E7BC5}" type="datetime'''''''Г''КП «''Куатж''ы''луорталык''-3» (в горя''чей вод''е)'">
              <a:rPr lang="ru-RU" altLang="en-US" sz="900" smtClean="0">
                <a:solidFill>
                  <a:schemeClr val="tx1"/>
                </a:solidFill>
              </a:rPr>
              <a:pPr/>
              <a:t>ГКП «Куатжылуорталык-3» (в горячей воде)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66" name="Прямоугольник 165"/>
          <p:cNvSpPr/>
          <p:nvPr>
            <p:custDataLst>
              <p:tags r:id="rId31"/>
            </p:custDataLst>
          </p:nvPr>
        </p:nvSpPr>
        <p:spPr bwMode="auto">
          <a:xfrm>
            <a:off x="9642476" y="3835400"/>
            <a:ext cx="13620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8BE9C4B-F9F7-4C78-844B-4DC17FEBE07D}" type="datetime'''И''''П'' «Берда''л''ие''''в''''» ''''(''в ''''''п''аре)'">
              <a:rPr lang="ru-RU" altLang="en-US" sz="900" smtClean="0">
                <a:solidFill>
                  <a:schemeClr val="tx1"/>
                </a:solidFill>
              </a:rPr>
              <a:pPr/>
              <a:t>ИП «Бердалиев» (в паре)</a:t>
            </a:fld>
            <a:endParaRPr lang="ru-RU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954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10" name="Слайд think-cell" r:id="rId6" imgW="594" imgH="595" progId="TCLayout.ActiveDocument.1">
                  <p:embed/>
                </p:oleObj>
              </mc:Choice>
              <mc:Fallback>
                <p:oleObj name="Слайд think-cell" r:id="rId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000" dirty="0"/>
              <a:t>Информация о проводимой работе с потребителями 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регулируемых услуг и качестве предоставляемых услуг</a:t>
            </a:r>
            <a:endParaRPr lang="ru-RU" sz="2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3-Энергоорталы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2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3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4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5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7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8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19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0" name="Rounded Rectangle 526"/>
          <p:cNvSpPr/>
          <p:nvPr/>
        </p:nvSpPr>
        <p:spPr bwMode="gray">
          <a:xfrm>
            <a:off x="7213829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34310" y="6321425"/>
            <a:ext cx="108623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первое полугодие 2025 года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34311" y="5377626"/>
            <a:ext cx="110433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Отопительный период </a:t>
            </a:r>
            <a:r>
              <a:rPr lang="ru-RU" sz="1400" dirty="0" smtClean="0"/>
              <a:t> 2024-2025 </a:t>
            </a:r>
            <a:r>
              <a:rPr lang="ru-RU" sz="1400" dirty="0" err="1" smtClean="0"/>
              <a:t>гг</a:t>
            </a:r>
            <a:r>
              <a:rPr lang="ru-RU" sz="1400" dirty="0" smtClean="0"/>
              <a:t> прошел </a:t>
            </a:r>
            <a:r>
              <a:rPr lang="ru-RU" sz="1400" dirty="0"/>
              <a:t>без технологических нарушений и отказов оборудования и сбоев в системе теплоснабжения. В течение отопительного периода гидравлические параметры теплоносителя в тепловых магистралях соответствовали расчетным значениям, температура сетевой воды центрального теплоснабжения соответствовала температурному графику.</a:t>
            </a:r>
          </a:p>
        </p:txBody>
      </p:sp>
      <p:sp>
        <p:nvSpPr>
          <p:cNvPr id="23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"/>
          <p:cNvSpPr/>
          <p:nvPr>
            <p:custDataLst>
              <p:tags r:id="rId3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5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6" name="Соединительная линия уступом 25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stCxn id="15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Прямоугольник 28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0" name="Rounded Rectangle 526"/>
          <p:cNvSpPr/>
          <p:nvPr/>
        </p:nvSpPr>
        <p:spPr bwMode="gray">
          <a:xfrm>
            <a:off x="9390292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информации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5" name="Group 488"/>
          <p:cNvGrpSpPr/>
          <p:nvPr/>
        </p:nvGrpSpPr>
        <p:grpSpPr>
          <a:xfrm>
            <a:off x="317500" y="2891415"/>
            <a:ext cx="371475" cy="371475"/>
            <a:chOff x="-2103438" y="3878264"/>
            <a:chExt cx="371475" cy="371475"/>
          </a:xfrm>
        </p:grpSpPr>
        <p:sp>
          <p:nvSpPr>
            <p:cNvPr id="36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034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GyNTJZAaNcmDK0E4Qd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ENImmmCzhSLfYWEE6H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p1JJi3XaP8vFSKgFd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vv33cwU_IcYxLytInoW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mRnaLkYpoUOw6DBsV4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V2mekCGarIcDgkaIM.3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xPK3p_YQiBcJSGBKdb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AnfILiH.bz5oFNUfY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zw.of2R2OZ6ftF9nTFN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muAF3rqpspaU8E94W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Y3jLPSTCd0Sr_2yXNG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hwwk2TJ0oxnfxHdjOX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8oi2ZTE_9fDz3iy1DC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UCpDHWv4l5K_CBhmF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CAe2NuNdwv06HqPDNh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SLoqzZyQsST4UVt_Tb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zFK.RDFX_d0eYL2yzx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YAeFBPYPN9CzsN7Yio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sgLvhaDXC_G6ouMs5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lVeaIWaANYFccCKa9S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ZEBI5nN0qdPVdrd84L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2JRroKKY6CRSAoRC9w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9BF1AL0_qJLtAdixoKC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sgjcxM3O6stogufAau3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mSguOT.CJeRSNyEUsg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bfA2fTUpPXlMXYm0S5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hcyUzsKqBaonVEJfpL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UDZEPLVpMf49sEPp2x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f_BpFkV2ssqYewisYp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hYkHOTQiqHneYS6tWG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2Xthqx_iW54wpULRkmp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E5A532-DC4D-4079-9E31-89E1596CB804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41782C3F-0F27-418F-915F-C8B694137E4B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53E5EF3A-C15E-46B0-A7D7-512D72955512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B890416-D95C-43B0-AC60-C88971DEA5B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0DED1A89-D55A-4450-B969-44C1588A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268</TotalTime>
  <Words>2554</Words>
  <Application>Microsoft Office PowerPoint</Application>
  <PresentationFormat>Широкоэкранный</PresentationFormat>
  <Paragraphs>746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Montserrat</vt:lpstr>
      <vt:lpstr>Open Sans</vt:lpstr>
      <vt:lpstr>Times New Roman</vt:lpstr>
      <vt:lpstr>Wingdings</vt:lpstr>
      <vt:lpstr>ERG</vt:lpstr>
      <vt:lpstr>Слайд think-cell</vt:lpstr>
      <vt:lpstr>Презентация PowerPoint</vt:lpstr>
      <vt:lpstr>Общие сведения </vt:lpstr>
      <vt:lpstr>Информация об исполнении утвержденной инвестиционной программы  АО «3-Энергоорталык» по итогам 1 полугодия 2025 года 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5 года (1 из 3)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5 года (2 из 3)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5 года (3 из 3)</vt:lpstr>
      <vt:lpstr>Информация о соблюдении показателей качества и надежности регулируемых услуг и достижении показателей эффективности деятельности по итогам 1 полугодия 2025года </vt:lpstr>
      <vt:lpstr>Информация об основных финансово - экономических показателях по услуге производство тепловой энергии и об объемах предоставленных регулируемых услуг   </vt:lpstr>
      <vt:lpstr>Информация о проводимой работе с потребителями  регулируемых услуг и качестве предоставляемых услуг</vt:lpstr>
      <vt:lpstr>Информация о качестве предоставляемых регулируемых услуг</vt:lpstr>
      <vt:lpstr>Информация о перспективах деятельности (планы развития), в том числе возможных изменениях тарифов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Anna Martynenko</cp:lastModifiedBy>
  <cp:revision>1372</cp:revision>
  <cp:lastPrinted>2023-07-12T13:21:41Z</cp:lastPrinted>
  <dcterms:created xsi:type="dcterms:W3CDTF">2017-11-25T12:09:27Z</dcterms:created>
  <dcterms:modified xsi:type="dcterms:W3CDTF">2025-07-11T07:0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